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s/slide15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02.xml" ContentType="application/vnd.openxmlformats-officedocument.presentationml.tags+xml"/>
  <Override PartName="/ppt/notesSlides/notesSlide15.xml" ContentType="application/vnd.openxmlformats-officedocument.presentationml.notesSlid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39" r:id="rId18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slide" Target="/ppt/slides/slide15.xml" Id="rId18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9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5.xml.rels>&#65279;<?xml version="1.0" encoding="utf-8"?><Relationships xmlns="http://schemas.openxmlformats.org/package/2006/relationships"><Relationship Type="http://schemas.openxmlformats.org/officeDocument/2006/relationships/slide" Target="/ppt/slides/slide15.xml" Id="rId2" /><Relationship Type="http://schemas.openxmlformats.org/officeDocument/2006/relationships/notesMaster" Target="/ppt/notesMasters/notesMaster1.xml" Id="rId1" /></Relationship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714513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5.xml.rels>&#65279;<?xml version="1.0" encoding="utf-8"?><Relationships xmlns="http://schemas.openxmlformats.org/package/2006/relationships"><Relationship Type="http://schemas.openxmlformats.org/officeDocument/2006/relationships/image" Target="/ppt/media/image36.svg" Id="rId8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35.png" Id="rId7" /><Relationship Type="http://schemas.openxmlformats.org/officeDocument/2006/relationships/tags" Target="/ppt/tags/tag102.xml" Id="rId2" /><Relationship Type="http://schemas.openxmlformats.org/officeDocument/2006/relationships/vmlDrawing" Target="/ppt/drawings/vmlDrawing19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9.bin" Id="rId5" /><Relationship Type="http://schemas.openxmlformats.org/officeDocument/2006/relationships/notesSlide" Target="/ppt/notesSlides/notesSlide15.xml" Id="rId4" /></Relationships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0861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6">
            <a:extLst>
              <a:ext uri="{FF2B5EF4-FFF2-40B4-BE49-F238E27FC236}">
                <a16:creationId xmlns:a16="http://schemas.microsoft.com/office/drawing/2014/main" id="{0F060800-2477-08D5-FEFD-82AF30AE29C6}"/>
              </a:ext>
            </a:extLst>
          </p:cNvPr>
          <p:cNvSpPr>
            <a:spLocks/>
          </p:cNvSpPr>
          <p:nvPr/>
        </p:nvSpPr>
        <p:spPr bwMode="gray">
          <a:xfrm>
            <a:off x="4121407" y="2567842"/>
            <a:ext cx="3923075" cy="1501596"/>
          </a:xfrm>
          <a:prstGeom prst="rect">
            <a:avLst/>
          </a:prstGeom>
          <a:noFill/>
          <a:ln w="158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288000" tIns="216000" rIns="288000" bIns="216000" rtlCol="0" anchor="ctr"/>
          <a:lstStyle/>
          <a:p>
            <a:pPr>
              <a:defRPr/>
            </a:pPr>
            <a:r>
              <a:rPr lang="en-US" sz="4800" b="1">
                <a:solidFill>
                  <a:schemeClr val="accent6"/>
                </a:solidFill>
                <a:ea typeface="Chronicle Display Roman" charset="0"/>
                <a:cs typeface="Chronicle Display Roman" charset="0"/>
              </a:rPr>
              <a:t>55,000</a:t>
            </a:r>
          </a:p>
          <a:p>
            <a:pPr>
              <a:defRPr/>
            </a:pPr>
            <a:r>
              <a:rPr lang="en-US" sz="2400">
                <a:solidFill>
                  <a:srgbClr val="000000"/>
                </a:solidFill>
                <a:ea typeface="Open Sans" charset="0"/>
                <a:cs typeface="Open Sans" charset="0"/>
              </a:rPr>
              <a:t>DOLOR PISCI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Innovative power</a:t>
            </a:r>
            <a:endParaRPr lang="en-US"/>
          </a:p>
        </p:txBody>
      </p:sp>
      <p:sp>
        <p:nvSpPr>
          <p:cNvPr id="2" name="Rectangle 98">
            <a:extLst>
              <a:ext uri="{FF2B5EF4-FFF2-40B4-BE49-F238E27FC236}">
                <a16:creationId xmlns:a16="http://schemas.microsoft.com/office/drawing/2014/main" id="{EE4B509D-70B7-9ABF-2CE4-0A7FEBF0D4E0}"/>
              </a:ext>
            </a:extLst>
          </p:cNvPr>
          <p:cNvSpPr>
            <a:spLocks/>
          </p:cNvSpPr>
          <p:nvPr/>
        </p:nvSpPr>
        <p:spPr bwMode="gray">
          <a:xfrm>
            <a:off x="539584" y="1434816"/>
            <a:ext cx="2970363" cy="1122780"/>
          </a:xfrm>
          <a:prstGeom prst="rect">
            <a:avLst/>
          </a:prstGeom>
        </p:spPr>
        <p:txBody>
          <a:bodyPr wrap="none" anchor="b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en-US" sz="6600" b="1" spc="-10">
                <a:solidFill>
                  <a:schemeClr val="accent6"/>
                </a:solidFill>
                <a:ea typeface="Chronicle Display Roman" charset="0"/>
                <a:cs typeface="Chronicle Display Roman" charset="0"/>
              </a:rPr>
              <a:t>€5.0</a:t>
            </a:r>
            <a:r>
              <a:rPr lang="en-US" sz="2000" b="1" spc="-10">
                <a:solidFill>
                  <a:schemeClr val="accent6"/>
                </a:solidFill>
                <a:ea typeface="Chronicle Display Roman" charset="0"/>
                <a:cs typeface="Chronicle Display Roman" charset="0"/>
              </a:rPr>
              <a:t> </a:t>
            </a:r>
            <a:r>
              <a:rPr lang="en-US" sz="6600" b="1" spc="-10">
                <a:solidFill>
                  <a:schemeClr val="accent6"/>
                </a:solidFill>
                <a:ea typeface="Chronicle Display Roman" charset="0"/>
                <a:cs typeface="Chronicle Display Roman" charset="0"/>
              </a:rPr>
              <a:t>b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FAD2C1A-3886-8DE8-C96C-F0F330692508}"/>
              </a:ext>
            </a:extLst>
          </p:cNvPr>
          <p:cNvSpPr txBox="1">
            <a:spLocks/>
          </p:cNvSpPr>
          <p:nvPr/>
        </p:nvSpPr>
        <p:spPr bwMode="gray">
          <a:xfrm>
            <a:off x="4121407" y="1828052"/>
            <a:ext cx="2626642" cy="56139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2000">
                <a:solidFill>
                  <a:schemeClr val="accent1"/>
                </a:solidFill>
                <a:ea typeface="Open Sans" charset="0"/>
                <a:cs typeface="Open Sans" charset="0"/>
              </a:rPr>
              <a:t>ELIT CONSET</a:t>
            </a:r>
            <a:br>
              <a:rPr lang="en-US" sz="2000">
                <a:solidFill>
                  <a:srgbClr val="3C464B"/>
                </a:solidFill>
                <a:ea typeface="Open Sans" charset="0"/>
                <a:cs typeface="Open Sans" charset="0"/>
              </a:rPr>
            </a:br>
            <a:r>
              <a:rPr lang="en-US" sz="2000">
                <a:solidFill>
                  <a:srgbClr val="000000"/>
                </a:solidFill>
                <a:ea typeface="Open Sans" charset="0"/>
                <a:cs typeface="Open Sans" charset="0"/>
              </a:rPr>
              <a:t>LOREM IPSUM DOLO</a:t>
            </a:r>
          </a:p>
        </p:txBody>
      </p:sp>
      <p:sp>
        <p:nvSpPr>
          <p:cNvPr id="7" name="Rectangle 105">
            <a:extLst>
              <a:ext uri="{FF2B5EF4-FFF2-40B4-BE49-F238E27FC236}">
                <a16:creationId xmlns:a16="http://schemas.microsoft.com/office/drawing/2014/main" id="{60ABB207-F425-C47E-0105-68A3C0BECF32}"/>
              </a:ext>
            </a:extLst>
          </p:cNvPr>
          <p:cNvSpPr>
            <a:spLocks/>
          </p:cNvSpPr>
          <p:nvPr/>
        </p:nvSpPr>
        <p:spPr bwMode="gray">
          <a:xfrm>
            <a:off x="651502" y="4865395"/>
            <a:ext cx="701027" cy="53020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r>
              <a:rPr lang="en-US" sz="3400" b="1">
                <a:solidFill>
                  <a:schemeClr val="accent6"/>
                </a:solidFill>
                <a:ea typeface="Chronicle Display Roman" charset="0"/>
                <a:cs typeface="Chronicle Display Roman" charset="0"/>
              </a:rPr>
              <a:t>17</a:t>
            </a:r>
          </a:p>
        </p:txBody>
      </p:sp>
      <p:sp>
        <p:nvSpPr>
          <p:cNvPr id="9" name="Rectangle 459">
            <a:extLst>
              <a:ext uri="{FF2B5EF4-FFF2-40B4-BE49-F238E27FC236}">
                <a16:creationId xmlns:a16="http://schemas.microsoft.com/office/drawing/2014/main" id="{694F9DA1-E168-0EB1-DEFD-4D62568EDD8F}"/>
              </a:ext>
            </a:extLst>
          </p:cNvPr>
          <p:cNvSpPr>
            <a:spLocks/>
          </p:cNvSpPr>
          <p:nvPr/>
        </p:nvSpPr>
        <p:spPr bwMode="gray">
          <a:xfrm>
            <a:off x="651502" y="2985375"/>
            <a:ext cx="1564289" cy="748520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r>
              <a:rPr lang="en-US" sz="4800" b="1">
                <a:solidFill>
                  <a:schemeClr val="accent6"/>
                </a:solidFill>
                <a:ea typeface="Chronicle Display Roman" charset="0"/>
                <a:cs typeface="Chronicle Display Roman" charset="0"/>
              </a:rPr>
              <a:t>4,500</a:t>
            </a:r>
          </a:p>
        </p:txBody>
      </p:sp>
      <p:sp>
        <p:nvSpPr>
          <p:cNvPr id="12" name="Rectangle 462">
            <a:extLst>
              <a:ext uri="{FF2B5EF4-FFF2-40B4-BE49-F238E27FC236}">
                <a16:creationId xmlns:a16="http://schemas.microsoft.com/office/drawing/2014/main" id="{F7F8852E-8420-55C9-0285-30030957CFCB}"/>
              </a:ext>
            </a:extLst>
          </p:cNvPr>
          <p:cNvSpPr>
            <a:spLocks/>
          </p:cNvSpPr>
          <p:nvPr/>
        </p:nvSpPr>
        <p:spPr bwMode="gray">
          <a:xfrm>
            <a:off x="4121407" y="4671166"/>
            <a:ext cx="1301139" cy="6237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r>
              <a:rPr lang="en-US" sz="4000" b="1">
                <a:solidFill>
                  <a:schemeClr val="accent6"/>
                </a:solidFill>
                <a:ea typeface="Chronicle Display Roman" charset="0"/>
                <a:cs typeface="Chronicle Display Roman" charset="0"/>
              </a:rPr>
              <a:t>4,500</a:t>
            </a:r>
          </a:p>
        </p:txBody>
      </p:sp>
      <p:sp>
        <p:nvSpPr>
          <p:cNvPr id="14" name="Rectangle 20">
            <a:extLst>
              <a:ext uri="{FF2B5EF4-FFF2-40B4-BE49-F238E27FC236}">
                <a16:creationId xmlns:a16="http://schemas.microsoft.com/office/drawing/2014/main" id="{DF09C1F3-0F4B-618B-4B18-FB1FBC528976}"/>
              </a:ext>
            </a:extLst>
          </p:cNvPr>
          <p:cNvSpPr>
            <a:spLocks/>
          </p:cNvSpPr>
          <p:nvPr/>
        </p:nvSpPr>
        <p:spPr bwMode="gray">
          <a:xfrm>
            <a:off x="1257318" y="4971731"/>
            <a:ext cx="602650" cy="336834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lnSpc>
                <a:spcPct val="90000"/>
              </a:lnSpc>
            </a:pPr>
            <a:r>
              <a:rPr lang="en-US" sz="1200">
                <a:solidFill>
                  <a:srgbClr val="000000"/>
                </a:solidFill>
                <a:ea typeface="Open Sans" charset="0"/>
                <a:cs typeface="Open Sans" charset="0"/>
              </a:rPr>
              <a:t>Dolor</a:t>
            </a:r>
            <a:br>
              <a:rPr lang="en-US" sz="1200">
                <a:solidFill>
                  <a:srgbClr val="3C464B"/>
                </a:solidFill>
                <a:ea typeface="Open Sans" charset="0"/>
                <a:cs typeface="Open Sans" charset="0"/>
              </a:rPr>
            </a:br>
            <a:r>
              <a:rPr lang="en-US" sz="1200" err="1">
                <a:solidFill>
                  <a:schemeClr val="accent1"/>
                </a:solidFill>
                <a:ea typeface="Open Sans" charset="0"/>
                <a:cs typeface="Open Sans" charset="0"/>
              </a:rPr>
              <a:t>adipiscin</a:t>
            </a:r>
            <a:endParaRPr lang="en-US" sz="1200">
              <a:solidFill>
                <a:schemeClr val="accent1"/>
              </a:solidFill>
              <a:ea typeface="Open Sans" charset="0"/>
              <a:cs typeface="Open Sans" charset="0"/>
            </a:endParaRPr>
          </a:p>
        </p:txBody>
      </p:sp>
      <p:sp>
        <p:nvSpPr>
          <p:cNvPr id="15" name="Rectangle 511">
            <a:extLst>
              <a:ext uri="{FF2B5EF4-FFF2-40B4-BE49-F238E27FC236}">
                <a16:creationId xmlns:a16="http://schemas.microsoft.com/office/drawing/2014/main" id="{53E044B9-E726-213D-A080-415C5DC21F60}"/>
              </a:ext>
            </a:extLst>
          </p:cNvPr>
          <p:cNvSpPr>
            <a:spLocks/>
          </p:cNvSpPr>
          <p:nvPr/>
        </p:nvSpPr>
        <p:spPr bwMode="gray">
          <a:xfrm>
            <a:off x="4121407" y="5409400"/>
            <a:ext cx="3923075" cy="349909"/>
          </a:xfrm>
          <a:prstGeom prst="rect">
            <a:avLst/>
          </a:prstGeom>
          <a:noFill/>
          <a:ln w="158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36000" rIns="72000" bIns="36000" rtlCol="0" anchor="ctr"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>
                <a:solidFill>
                  <a:srgbClr val="000000"/>
                </a:solidFill>
                <a:ea typeface="Open Sans" charset="0"/>
                <a:cs typeface="Open Sans" charset="0"/>
              </a:rPr>
              <a:t>DOLOR SIT ADIPISCIN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7BE942ED-AC03-8E75-4EDB-DC448937CB04}"/>
              </a:ext>
            </a:extLst>
          </p:cNvPr>
          <p:cNvSpPr txBox="1">
            <a:spLocks/>
          </p:cNvSpPr>
          <p:nvPr/>
        </p:nvSpPr>
        <p:spPr bwMode="gray">
          <a:xfrm>
            <a:off x="651502" y="3800905"/>
            <a:ext cx="1833289" cy="21208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</a:pPr>
            <a:r>
              <a:rPr lang="en-US" sz="1600">
                <a:solidFill>
                  <a:schemeClr val="accent1"/>
                </a:solidFill>
                <a:ea typeface="Open Sans" charset="0"/>
                <a:cs typeface="Open Sans" charset="0"/>
              </a:rPr>
              <a:t>DOLOR SIT ADIPTI</a:t>
            </a:r>
            <a:endParaRPr lang="en-US" sz="1400">
              <a:solidFill>
                <a:schemeClr val="accent1"/>
              </a:solidFill>
              <a:ea typeface="Open Sans" charset="0"/>
              <a:cs typeface="Open Sans" charset="0"/>
            </a:endParaRPr>
          </a:p>
        </p:txBody>
      </p:sp>
      <p:sp>
        <p:nvSpPr>
          <p:cNvPr id="17" name="Rectangle 615">
            <a:extLst>
              <a:ext uri="{FF2B5EF4-FFF2-40B4-BE49-F238E27FC236}">
                <a16:creationId xmlns:a16="http://schemas.microsoft.com/office/drawing/2014/main" id="{301B7F5A-8342-021F-7CE1-3DCF1AE9820A}"/>
              </a:ext>
            </a:extLst>
          </p:cNvPr>
          <p:cNvSpPr>
            <a:spLocks/>
          </p:cNvSpPr>
          <p:nvPr/>
        </p:nvSpPr>
        <p:spPr bwMode="gray">
          <a:xfrm>
            <a:off x="8631150" y="4798160"/>
            <a:ext cx="2964068" cy="961149"/>
          </a:xfrm>
          <a:prstGeom prst="rect">
            <a:avLst/>
          </a:prstGeom>
          <a:noFill/>
          <a:ln w="158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C464B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8" name="Rectangle 116">
            <a:extLst>
              <a:ext uri="{FF2B5EF4-FFF2-40B4-BE49-F238E27FC236}">
                <a16:creationId xmlns:a16="http://schemas.microsoft.com/office/drawing/2014/main" id="{32678085-4D7F-1F35-281D-7DFFD4ED724B}"/>
              </a:ext>
            </a:extLst>
          </p:cNvPr>
          <p:cNvSpPr>
            <a:spLocks/>
          </p:cNvSpPr>
          <p:nvPr/>
        </p:nvSpPr>
        <p:spPr bwMode="gray">
          <a:xfrm>
            <a:off x="651768" y="4240445"/>
            <a:ext cx="3250962" cy="279399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C464B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9" name="Rectangle 121">
            <a:extLst>
              <a:ext uri="{FF2B5EF4-FFF2-40B4-BE49-F238E27FC236}">
                <a16:creationId xmlns:a16="http://schemas.microsoft.com/office/drawing/2014/main" id="{EF9AB070-84AF-CB74-EEA2-EFCE6FB4D873}"/>
              </a:ext>
            </a:extLst>
          </p:cNvPr>
          <p:cNvSpPr>
            <a:spLocks/>
          </p:cNvSpPr>
          <p:nvPr/>
        </p:nvSpPr>
        <p:spPr bwMode="gray">
          <a:xfrm>
            <a:off x="651768" y="5482476"/>
            <a:ext cx="3250962" cy="279399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C464B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20" name="Rectangle 122">
            <a:extLst>
              <a:ext uri="{FF2B5EF4-FFF2-40B4-BE49-F238E27FC236}">
                <a16:creationId xmlns:a16="http://schemas.microsoft.com/office/drawing/2014/main" id="{51818C7B-7246-479C-303E-71C9E24D91B9}"/>
              </a:ext>
            </a:extLst>
          </p:cNvPr>
          <p:cNvSpPr>
            <a:spLocks/>
          </p:cNvSpPr>
          <p:nvPr/>
        </p:nvSpPr>
        <p:spPr bwMode="gray">
          <a:xfrm>
            <a:off x="651768" y="2567844"/>
            <a:ext cx="3250962" cy="279399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3C464B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6E5D229-596B-77C9-E79B-6C4E991A1FD0}"/>
              </a:ext>
            </a:extLst>
          </p:cNvPr>
          <p:cNvSpPr>
            <a:spLocks/>
          </p:cNvSpPr>
          <p:nvPr/>
        </p:nvSpPr>
        <p:spPr bwMode="gray">
          <a:xfrm>
            <a:off x="2911050" y="4971731"/>
            <a:ext cx="841436" cy="336835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>
                <a:solidFill>
                  <a:srgbClr val="000000"/>
                </a:solidFill>
                <a:ea typeface="Open Sans" charset="0"/>
                <a:cs typeface="Open Sans" charset="0"/>
              </a:rPr>
              <a:t>DOLOR SIT</a:t>
            </a:r>
            <a:br>
              <a:rPr lang="en-US" sz="1200">
                <a:solidFill>
                  <a:srgbClr val="000000"/>
                </a:solidFill>
                <a:ea typeface="Open Sans" charset="0"/>
                <a:cs typeface="Open Sans" charset="0"/>
              </a:rPr>
            </a:br>
            <a:r>
              <a:rPr lang="en-US" sz="1200">
                <a:solidFill>
                  <a:schemeClr val="accent1"/>
                </a:solidFill>
                <a:ea typeface="Open Sans" charset="0"/>
                <a:cs typeface="Open Sans" charset="0"/>
              </a:rPr>
              <a:t>ADP AMET</a:t>
            </a:r>
          </a:p>
        </p:txBody>
      </p:sp>
      <p:sp>
        <p:nvSpPr>
          <p:cNvPr id="22" name="Rectangle 105">
            <a:extLst>
              <a:ext uri="{FF2B5EF4-FFF2-40B4-BE49-F238E27FC236}">
                <a16:creationId xmlns:a16="http://schemas.microsoft.com/office/drawing/2014/main" id="{2808C4EF-A692-BEDB-C80C-A438BD33399A}"/>
              </a:ext>
            </a:extLst>
          </p:cNvPr>
          <p:cNvSpPr>
            <a:spLocks/>
          </p:cNvSpPr>
          <p:nvPr/>
        </p:nvSpPr>
        <p:spPr bwMode="gray">
          <a:xfrm>
            <a:off x="2332006" y="4865395"/>
            <a:ext cx="490566" cy="53020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r>
              <a:rPr lang="en-US" sz="3400" b="1">
                <a:solidFill>
                  <a:schemeClr val="accent6"/>
                </a:solidFill>
                <a:ea typeface="Chronicle Display Roman" charset="0"/>
                <a:cs typeface="Chronicle Display Roman" charset="0"/>
              </a:rPr>
              <a:t>24</a:t>
            </a:r>
          </a:p>
        </p:txBody>
      </p:sp>
      <p:sp>
        <p:nvSpPr>
          <p:cNvPr id="23" name="Rechteck 25">
            <a:extLst>
              <a:ext uri="{FF2B5EF4-FFF2-40B4-BE49-F238E27FC236}">
                <a16:creationId xmlns:a16="http://schemas.microsoft.com/office/drawing/2014/main" id="{E1B01AA8-7D30-D566-E705-377029B2959A}"/>
              </a:ext>
            </a:extLst>
          </p:cNvPr>
          <p:cNvSpPr>
            <a:spLocks/>
          </p:cNvSpPr>
          <p:nvPr/>
        </p:nvSpPr>
        <p:spPr bwMode="gray">
          <a:xfrm>
            <a:off x="8598823" y="1828052"/>
            <a:ext cx="3221587" cy="2806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000">
                <a:solidFill>
                  <a:schemeClr val="accent1"/>
                </a:solidFill>
                <a:ea typeface="Arial Unicode MS"/>
              </a:rPr>
              <a:t>LOREIPSU</a:t>
            </a:r>
          </a:p>
        </p:txBody>
      </p:sp>
      <p:sp>
        <p:nvSpPr>
          <p:cNvPr id="24" name="Rechteck 26">
            <a:extLst>
              <a:ext uri="{FF2B5EF4-FFF2-40B4-BE49-F238E27FC236}">
                <a16:creationId xmlns:a16="http://schemas.microsoft.com/office/drawing/2014/main" id="{A561DA8A-6C14-DA0E-6871-6B549BC4CCBE}"/>
              </a:ext>
            </a:extLst>
          </p:cNvPr>
          <p:cNvSpPr>
            <a:spLocks/>
          </p:cNvSpPr>
          <p:nvPr/>
        </p:nvSpPr>
        <p:spPr bwMode="gray">
          <a:xfrm>
            <a:off x="8598823" y="2108747"/>
            <a:ext cx="3221587" cy="2806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000">
                <a:solidFill>
                  <a:srgbClr val="000000"/>
                </a:solidFill>
                <a:ea typeface="Arial Unicode MS"/>
              </a:rPr>
              <a:t>AMENSETET</a:t>
            </a:r>
          </a:p>
        </p:txBody>
      </p:sp>
      <p:sp>
        <p:nvSpPr>
          <p:cNvPr id="25" name="Rectangle 459">
            <a:extLst>
              <a:ext uri="{FF2B5EF4-FFF2-40B4-BE49-F238E27FC236}">
                <a16:creationId xmlns:a16="http://schemas.microsoft.com/office/drawing/2014/main" id="{7D2BF625-4ED8-D100-1915-7676BEDD505F}"/>
              </a:ext>
            </a:extLst>
          </p:cNvPr>
          <p:cNvSpPr>
            <a:spLocks/>
          </p:cNvSpPr>
          <p:nvPr/>
        </p:nvSpPr>
        <p:spPr bwMode="gray">
          <a:xfrm>
            <a:off x="8807161" y="4897340"/>
            <a:ext cx="867425" cy="6237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r>
              <a:rPr lang="en-US" sz="4000" b="1">
                <a:solidFill>
                  <a:schemeClr val="accent6"/>
                </a:solidFill>
              </a:rPr>
              <a:t>400</a:t>
            </a: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74E57DA5-FB7A-F713-E217-654648276FA1}"/>
              </a:ext>
            </a:extLst>
          </p:cNvPr>
          <p:cNvSpPr txBox="1">
            <a:spLocks/>
          </p:cNvSpPr>
          <p:nvPr/>
        </p:nvSpPr>
        <p:spPr bwMode="gray">
          <a:xfrm>
            <a:off x="9847402" y="4981877"/>
            <a:ext cx="1085094" cy="53020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</a:pPr>
            <a:r>
              <a:rPr lang="en-US" sz="2000">
                <a:solidFill>
                  <a:srgbClr val="000000"/>
                </a:solidFill>
                <a:ea typeface="Open Sans" charset="0"/>
                <a:cs typeface="Open Sans" charset="0"/>
              </a:rPr>
              <a:t>CONSET</a:t>
            </a:r>
            <a:br>
              <a:rPr lang="en-US" sz="2000">
                <a:solidFill>
                  <a:srgbClr val="000000"/>
                </a:solidFill>
                <a:ea typeface="Open Sans" charset="0"/>
                <a:cs typeface="Open Sans" charset="0"/>
              </a:rPr>
            </a:br>
            <a:r>
              <a:rPr lang="en-US" sz="2000">
                <a:solidFill>
                  <a:srgbClr val="000000"/>
                </a:solidFill>
                <a:ea typeface="Open Sans" charset="0"/>
                <a:cs typeface="Open Sans" charset="0"/>
              </a:rPr>
              <a:t>EXPERT</a:t>
            </a:r>
            <a:endParaRPr lang="en-US" sz="1800">
              <a:solidFill>
                <a:srgbClr val="000000"/>
              </a:solidFill>
              <a:ea typeface="Open Sans" charset="0"/>
              <a:cs typeface="Open Sans" charset="0"/>
            </a:endParaRPr>
          </a:p>
        </p:txBody>
      </p:sp>
      <p:sp>
        <p:nvSpPr>
          <p:cNvPr id="27" name="Rechteck 29">
            <a:extLst>
              <a:ext uri="{FF2B5EF4-FFF2-40B4-BE49-F238E27FC236}">
                <a16:creationId xmlns:a16="http://schemas.microsoft.com/office/drawing/2014/main" id="{5C908829-7858-1B9D-32FF-DFD5FA5A8903}"/>
              </a:ext>
            </a:extLst>
          </p:cNvPr>
          <p:cNvSpPr>
            <a:spLocks/>
          </p:cNvSpPr>
          <p:nvPr/>
        </p:nvSpPr>
        <p:spPr bwMode="gray">
          <a:xfrm>
            <a:off x="8261584" y="1708580"/>
            <a:ext cx="140367" cy="4053544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3C464B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28" name="Rectangle 666">
            <a:extLst>
              <a:ext uri="{FF2B5EF4-FFF2-40B4-BE49-F238E27FC236}">
                <a16:creationId xmlns:a16="http://schemas.microsoft.com/office/drawing/2014/main" id="{208CE98C-2FE9-DAE8-9638-B20A403DBA7E}"/>
              </a:ext>
            </a:extLst>
          </p:cNvPr>
          <p:cNvSpPr>
            <a:spLocks/>
          </p:cNvSpPr>
          <p:nvPr/>
        </p:nvSpPr>
        <p:spPr bwMode="gray">
          <a:xfrm>
            <a:off x="8598822" y="4123515"/>
            <a:ext cx="3009545" cy="44437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3C464B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29" name="Rectangle 666">
            <a:extLst>
              <a:ext uri="{FF2B5EF4-FFF2-40B4-BE49-F238E27FC236}">
                <a16:creationId xmlns:a16="http://schemas.microsoft.com/office/drawing/2014/main" id="{44D81641-F1B7-D81B-6633-B4B30DFD3E60}"/>
              </a:ext>
            </a:extLst>
          </p:cNvPr>
          <p:cNvSpPr>
            <a:spLocks/>
          </p:cNvSpPr>
          <p:nvPr/>
        </p:nvSpPr>
        <p:spPr bwMode="gray">
          <a:xfrm>
            <a:off x="8598822" y="3448865"/>
            <a:ext cx="3009545" cy="44437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3C464B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0" name="Rectangle 666">
            <a:extLst>
              <a:ext uri="{FF2B5EF4-FFF2-40B4-BE49-F238E27FC236}">
                <a16:creationId xmlns:a16="http://schemas.microsoft.com/office/drawing/2014/main" id="{851BDEFF-554A-2CFD-BCE1-5A156C38113D}"/>
              </a:ext>
            </a:extLst>
          </p:cNvPr>
          <p:cNvSpPr>
            <a:spLocks/>
          </p:cNvSpPr>
          <p:nvPr/>
        </p:nvSpPr>
        <p:spPr bwMode="gray">
          <a:xfrm>
            <a:off x="8598822" y="2774216"/>
            <a:ext cx="3009545" cy="44437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3C464B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1" name="Rechteck 33">
            <a:extLst>
              <a:ext uri="{FF2B5EF4-FFF2-40B4-BE49-F238E27FC236}">
                <a16:creationId xmlns:a16="http://schemas.microsoft.com/office/drawing/2014/main" id="{D7971E82-1F41-A3C4-938D-B87CEF60A526}"/>
              </a:ext>
            </a:extLst>
          </p:cNvPr>
          <p:cNvSpPr>
            <a:spLocks/>
          </p:cNvSpPr>
          <p:nvPr/>
        </p:nvSpPr>
        <p:spPr bwMode="gray">
          <a:xfrm>
            <a:off x="8598823" y="2474271"/>
            <a:ext cx="3221587" cy="1759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1400">
                <a:solidFill>
                  <a:schemeClr val="accent1"/>
                </a:solidFill>
                <a:ea typeface="Arial Unicode MS"/>
              </a:rPr>
              <a:t>Dolor sit </a:t>
            </a:r>
            <a:r>
              <a:rPr lang="en-US" sz="1400" err="1">
                <a:solidFill>
                  <a:schemeClr val="accent1"/>
                </a:solidFill>
                <a:ea typeface="Arial Unicode MS"/>
              </a:rPr>
              <a:t>adipiscing</a:t>
            </a:r>
            <a:r>
              <a:rPr lang="en-US" sz="1400">
                <a:solidFill>
                  <a:schemeClr val="accent1"/>
                </a:solidFill>
                <a:ea typeface="Arial Unicode MS"/>
              </a:rPr>
              <a:t> </a:t>
            </a:r>
            <a:r>
              <a:rPr lang="en-US" sz="1400" err="1">
                <a:solidFill>
                  <a:schemeClr val="accent1"/>
                </a:solidFill>
                <a:ea typeface="Arial Unicode MS"/>
              </a:rPr>
              <a:t>elit</a:t>
            </a:r>
            <a:endParaRPr lang="en-US" sz="1100">
              <a:solidFill>
                <a:schemeClr val="accent1"/>
              </a:solidFill>
              <a:ea typeface="Arial Unicode MS"/>
            </a:endParaRP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84D56DB9-51CD-D589-2CBE-9ACF80C8E53C}"/>
              </a:ext>
            </a:extLst>
          </p:cNvPr>
          <p:cNvSpPr txBox="1">
            <a:spLocks/>
          </p:cNvSpPr>
          <p:nvPr/>
        </p:nvSpPr>
        <p:spPr bwMode="gray">
          <a:xfrm>
            <a:off x="4121407" y="4298361"/>
            <a:ext cx="3684378" cy="3711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</a:pPr>
            <a:r>
              <a:rPr lang="en-US" sz="1400">
                <a:solidFill>
                  <a:srgbClr val="000000"/>
                </a:solidFill>
                <a:ea typeface="Open Sans" charset="0"/>
                <a:cs typeface="Open Sans" charset="0"/>
              </a:rPr>
              <a:t>DOLOR SIT PISCING CONSET</a:t>
            </a:r>
          </a:p>
          <a:p>
            <a:pPr>
              <a:lnSpc>
                <a:spcPct val="85000"/>
              </a:lnSpc>
            </a:pPr>
            <a:r>
              <a:rPr lang="en-US" sz="1400">
                <a:solidFill>
                  <a:srgbClr val="000000"/>
                </a:solidFill>
                <a:ea typeface="Open Sans" charset="0"/>
                <a:cs typeface="Open Sans" charset="0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ea typeface="Open Sans" charset="0"/>
                <a:cs typeface="Open Sans" charset="0"/>
              </a:rPr>
              <a:t>amet</a:t>
            </a:r>
            <a:endParaRPr lang="en-US" sz="1400">
              <a:solidFill>
                <a:srgbClr val="000000"/>
              </a:solidFill>
              <a:ea typeface="Open Sans" charset="0"/>
              <a:cs typeface="Open Sans" charset="0"/>
            </a:endParaRPr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0CCEEB13-5A78-547F-E771-CF51CA164C20}"/>
              </a:ext>
            </a:extLst>
          </p:cNvPr>
          <p:cNvSpPr txBox="1">
            <a:spLocks/>
          </p:cNvSpPr>
          <p:nvPr/>
        </p:nvSpPr>
        <p:spPr bwMode="gray">
          <a:xfrm>
            <a:off x="8807161" y="5554758"/>
            <a:ext cx="2241660" cy="22533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buFont typeface="Arial" pitchFamily="34" charset="0"/>
              <a:buNone/>
            </a:pPr>
            <a:r>
              <a:rPr lang="en-US" sz="1700" b="1" spc="200">
                <a:solidFill>
                  <a:schemeClr val="accent1"/>
                </a:solidFill>
                <a:ea typeface="Open Sans" charset="0"/>
                <a:cs typeface="Open Sans" charset="0"/>
              </a:rPr>
              <a:t>********************</a:t>
            </a:r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DFB1AF37-D7A6-BF79-AA96-E407B5E8F262}"/>
              </a:ext>
            </a:extLst>
          </p:cNvPr>
          <p:cNvSpPr txBox="1">
            <a:spLocks/>
          </p:cNvSpPr>
          <p:nvPr/>
        </p:nvSpPr>
        <p:spPr bwMode="gray">
          <a:xfrm>
            <a:off x="10125433" y="2948189"/>
            <a:ext cx="1133826" cy="37114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</a:pPr>
            <a:r>
              <a:rPr lang="en-US" sz="1400">
                <a:solidFill>
                  <a:srgbClr val="000000"/>
                </a:solidFill>
                <a:ea typeface="Open Sans" charset="0"/>
                <a:cs typeface="Open Sans" charset="0"/>
              </a:rPr>
              <a:t>AMENSETER</a:t>
            </a:r>
            <a:br>
              <a:rPr lang="en-US" sz="1400">
                <a:solidFill>
                  <a:srgbClr val="000000"/>
                </a:solidFill>
                <a:ea typeface="Open Sans" charset="0"/>
                <a:cs typeface="Open Sans" charset="0"/>
              </a:rPr>
            </a:br>
            <a:r>
              <a:rPr lang="en-US" sz="1400">
                <a:solidFill>
                  <a:srgbClr val="000000"/>
                </a:solidFill>
                <a:ea typeface="Open Sans" charset="0"/>
                <a:cs typeface="Open Sans" charset="0"/>
              </a:rPr>
              <a:t>Dolor </a:t>
            </a:r>
            <a:r>
              <a:rPr lang="en-US" sz="1400" err="1">
                <a:solidFill>
                  <a:srgbClr val="000000"/>
                </a:solidFill>
                <a:ea typeface="Open Sans" charset="0"/>
                <a:cs typeface="Open Sans" charset="0"/>
              </a:rPr>
              <a:t>adipis</a:t>
            </a:r>
            <a:endParaRPr lang="en-US" sz="1400">
              <a:solidFill>
                <a:srgbClr val="000000"/>
              </a:solidFill>
              <a:ea typeface="Open Sans" charset="0"/>
              <a:cs typeface="Open Sans" charset="0"/>
            </a:endParaRPr>
          </a:p>
        </p:txBody>
      </p:sp>
      <p:sp>
        <p:nvSpPr>
          <p:cNvPr id="35" name="Rectangle 459">
            <a:extLst>
              <a:ext uri="{FF2B5EF4-FFF2-40B4-BE49-F238E27FC236}">
                <a16:creationId xmlns:a16="http://schemas.microsoft.com/office/drawing/2014/main" id="{2EB2CA03-2F98-C973-39EA-7FC255C59FED}"/>
              </a:ext>
            </a:extLst>
          </p:cNvPr>
          <p:cNvSpPr>
            <a:spLocks/>
          </p:cNvSpPr>
          <p:nvPr/>
        </p:nvSpPr>
        <p:spPr bwMode="gray">
          <a:xfrm>
            <a:off x="8598823" y="2868659"/>
            <a:ext cx="1104587" cy="53020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r>
              <a:rPr lang="en-US" sz="3400" b="1">
                <a:solidFill>
                  <a:schemeClr val="accent6"/>
                </a:solidFill>
                <a:ea typeface="Chronicle Display Roman" charset="0"/>
                <a:cs typeface="Chronicle Display Roman" charset="0"/>
              </a:rPr>
              <a:t>5,500</a:t>
            </a:r>
          </a:p>
        </p:txBody>
      </p:sp>
      <p:sp>
        <p:nvSpPr>
          <p:cNvPr id="36" name="Rectangle 459">
            <a:extLst>
              <a:ext uri="{FF2B5EF4-FFF2-40B4-BE49-F238E27FC236}">
                <a16:creationId xmlns:a16="http://schemas.microsoft.com/office/drawing/2014/main" id="{91E6C1F7-2673-1B9A-8C50-DAE4CAA79314}"/>
              </a:ext>
            </a:extLst>
          </p:cNvPr>
          <p:cNvSpPr>
            <a:spLocks/>
          </p:cNvSpPr>
          <p:nvPr/>
        </p:nvSpPr>
        <p:spPr bwMode="gray">
          <a:xfrm>
            <a:off x="8598823" y="4217957"/>
            <a:ext cx="1104587" cy="53020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r>
              <a:rPr lang="en-US" sz="3400" b="1">
                <a:solidFill>
                  <a:schemeClr val="accent6"/>
                </a:solidFill>
                <a:ea typeface="Chronicle Display Roman" charset="0"/>
                <a:cs typeface="Chronicle Display Roman" charset="0"/>
              </a:rPr>
              <a:t>2,600</a:t>
            </a:r>
          </a:p>
        </p:txBody>
      </p:sp>
      <p:sp>
        <p:nvSpPr>
          <p:cNvPr id="37" name="Subtitle 2">
            <a:extLst>
              <a:ext uri="{FF2B5EF4-FFF2-40B4-BE49-F238E27FC236}">
                <a16:creationId xmlns:a16="http://schemas.microsoft.com/office/drawing/2014/main" id="{9DBB3140-CAE7-AF35-C4D9-14B2124250E1}"/>
              </a:ext>
            </a:extLst>
          </p:cNvPr>
          <p:cNvSpPr txBox="1">
            <a:spLocks/>
          </p:cNvSpPr>
          <p:nvPr/>
        </p:nvSpPr>
        <p:spPr bwMode="gray">
          <a:xfrm>
            <a:off x="10125433" y="4297487"/>
            <a:ext cx="1133826" cy="37114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</a:pPr>
            <a:r>
              <a:rPr lang="en-US" sz="1400">
                <a:solidFill>
                  <a:srgbClr val="000000"/>
                </a:solidFill>
                <a:ea typeface="Open Sans" charset="0"/>
                <a:cs typeface="Open Sans" charset="0"/>
              </a:rPr>
              <a:t>AMENSETER</a:t>
            </a:r>
            <a:br>
              <a:rPr lang="en-US" sz="1400">
                <a:solidFill>
                  <a:srgbClr val="000000"/>
                </a:solidFill>
                <a:ea typeface="Open Sans" charset="0"/>
                <a:cs typeface="Open Sans" charset="0"/>
              </a:rPr>
            </a:br>
            <a:r>
              <a:rPr lang="en-US" sz="1400">
                <a:solidFill>
                  <a:srgbClr val="000000"/>
                </a:solidFill>
                <a:ea typeface="Open Sans" charset="0"/>
                <a:cs typeface="Open Sans" charset="0"/>
              </a:rPr>
              <a:t>Dolor </a:t>
            </a:r>
            <a:r>
              <a:rPr lang="en-US" sz="1400" err="1">
                <a:solidFill>
                  <a:srgbClr val="000000"/>
                </a:solidFill>
                <a:ea typeface="Open Sans" charset="0"/>
                <a:cs typeface="Open Sans" charset="0"/>
              </a:rPr>
              <a:t>adipis</a:t>
            </a:r>
            <a:endParaRPr lang="en-US" sz="1400">
              <a:solidFill>
                <a:srgbClr val="000000"/>
              </a:solidFill>
              <a:ea typeface="Open Sans" charset="0"/>
              <a:cs typeface="Open Sans" charset="0"/>
            </a:endParaRPr>
          </a:p>
        </p:txBody>
      </p:sp>
      <p:sp>
        <p:nvSpPr>
          <p:cNvPr id="38" name="Rectangle 459">
            <a:extLst>
              <a:ext uri="{FF2B5EF4-FFF2-40B4-BE49-F238E27FC236}">
                <a16:creationId xmlns:a16="http://schemas.microsoft.com/office/drawing/2014/main" id="{0C3966D1-D157-0DBC-DF85-42E472F09536}"/>
              </a:ext>
            </a:extLst>
          </p:cNvPr>
          <p:cNvSpPr>
            <a:spLocks/>
          </p:cNvSpPr>
          <p:nvPr/>
        </p:nvSpPr>
        <p:spPr bwMode="gray">
          <a:xfrm>
            <a:off x="10082776" y="3543308"/>
            <a:ext cx="1104587" cy="53020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r>
              <a:rPr lang="en-US" sz="3400" b="1">
                <a:solidFill>
                  <a:schemeClr val="accent6"/>
                </a:solidFill>
                <a:ea typeface="Chronicle Display Roman" charset="0"/>
                <a:cs typeface="Chronicle Display Roman" charset="0"/>
              </a:rPr>
              <a:t>6,600</a:t>
            </a: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E5A5BD1F-D3E6-75D8-E862-F5BB4C8E6D51}"/>
              </a:ext>
            </a:extLst>
          </p:cNvPr>
          <p:cNvSpPr txBox="1">
            <a:spLocks/>
          </p:cNvSpPr>
          <p:nvPr/>
        </p:nvSpPr>
        <p:spPr bwMode="gray">
          <a:xfrm>
            <a:off x="8598823" y="3622839"/>
            <a:ext cx="1133826" cy="37114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</a:pPr>
            <a:r>
              <a:rPr lang="en-US" sz="1400">
                <a:solidFill>
                  <a:srgbClr val="000000"/>
                </a:solidFill>
                <a:ea typeface="Open Sans" charset="0"/>
                <a:cs typeface="Open Sans" charset="0"/>
              </a:rPr>
              <a:t>AMENSETER</a:t>
            </a:r>
            <a:br>
              <a:rPr lang="en-US" sz="1400">
                <a:solidFill>
                  <a:srgbClr val="000000"/>
                </a:solidFill>
                <a:ea typeface="Open Sans" charset="0"/>
                <a:cs typeface="Open Sans" charset="0"/>
              </a:rPr>
            </a:br>
            <a:r>
              <a:rPr lang="en-US" sz="1400">
                <a:solidFill>
                  <a:srgbClr val="000000"/>
                </a:solidFill>
                <a:ea typeface="Open Sans" charset="0"/>
                <a:cs typeface="Open Sans" charset="0"/>
              </a:rPr>
              <a:t>Dolor </a:t>
            </a:r>
            <a:r>
              <a:rPr lang="en-US" sz="1400" err="1">
                <a:solidFill>
                  <a:srgbClr val="000000"/>
                </a:solidFill>
                <a:ea typeface="Open Sans" charset="0"/>
                <a:cs typeface="Open Sans" charset="0"/>
              </a:rPr>
              <a:t>adipis</a:t>
            </a:r>
            <a:endParaRPr lang="en-US" sz="1400">
              <a:solidFill>
                <a:srgbClr val="000000"/>
              </a:solidFill>
              <a:ea typeface="Open Sans" charset="0"/>
              <a:cs typeface="Open Sans" charset="0"/>
            </a:endParaRPr>
          </a:p>
        </p:txBody>
      </p:sp>
      <p:grpSp>
        <p:nvGrpSpPr>
          <p:cNvPr id="40" name="Gruppieren 42">
            <a:extLst>
              <a:ext uri="{FF2B5EF4-FFF2-40B4-BE49-F238E27FC236}">
                <a16:creationId xmlns:a16="http://schemas.microsoft.com/office/drawing/2014/main" id="{6A1E11AD-1B8E-9D0D-8619-836D0A0B9269}"/>
              </a:ext>
            </a:extLst>
          </p:cNvPr>
          <p:cNvGrpSpPr>
            <a:grpSpLocks/>
          </p:cNvGrpSpPr>
          <p:nvPr/>
        </p:nvGrpSpPr>
        <p:grpSpPr bwMode="gray">
          <a:xfrm>
            <a:off x="5745447" y="4809031"/>
            <a:ext cx="2299034" cy="348040"/>
            <a:chOff x="6044620" y="5125883"/>
            <a:chExt cx="1865980" cy="282482"/>
          </a:xfrm>
          <a:solidFill>
            <a:schemeClr val="accent6"/>
          </a:solidFill>
        </p:grpSpPr>
        <p:grpSp>
          <p:nvGrpSpPr>
            <p:cNvPr id="41" name="Gruppieren 43">
              <a:extLst>
                <a:ext uri="{FF2B5EF4-FFF2-40B4-BE49-F238E27FC236}">
                  <a16:creationId xmlns:a16="http://schemas.microsoft.com/office/drawing/2014/main" id="{59B62AD7-5083-3D2B-78B4-501FB8668402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6044620" y="5125883"/>
              <a:ext cx="261938" cy="282482"/>
              <a:chOff x="6927851" y="6351"/>
              <a:chExt cx="323850" cy="349250"/>
            </a:xfrm>
            <a:grpFill/>
          </p:grpSpPr>
          <p:sp>
            <p:nvSpPr>
              <p:cNvPr id="63" name="Freeform 301">
                <a:extLst>
                  <a:ext uri="{FF2B5EF4-FFF2-40B4-BE49-F238E27FC236}">
                    <a16:creationId xmlns:a16="http://schemas.microsoft.com/office/drawing/2014/main" id="{D31BEF6A-3030-A469-1DDC-A3F7997D9C3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27851" y="30163"/>
                <a:ext cx="323850" cy="325438"/>
              </a:xfrm>
              <a:custGeom>
                <a:avLst/>
                <a:gdLst>
                  <a:gd name="T0" fmla="*/ 108 w 216"/>
                  <a:gd name="T1" fmla="*/ 216 h 216"/>
                  <a:gd name="T2" fmla="*/ 107 w 216"/>
                  <a:gd name="T3" fmla="*/ 216 h 216"/>
                  <a:gd name="T4" fmla="*/ 3 w 216"/>
                  <a:gd name="T5" fmla="*/ 164 h 216"/>
                  <a:gd name="T6" fmla="*/ 0 w 216"/>
                  <a:gd name="T7" fmla="*/ 160 h 216"/>
                  <a:gd name="T8" fmla="*/ 0 w 216"/>
                  <a:gd name="T9" fmla="*/ 4 h 216"/>
                  <a:gd name="T10" fmla="*/ 2 w 216"/>
                  <a:gd name="T11" fmla="*/ 1 h 216"/>
                  <a:gd name="T12" fmla="*/ 6 w 216"/>
                  <a:gd name="T13" fmla="*/ 1 h 216"/>
                  <a:gd name="T14" fmla="*/ 108 w 216"/>
                  <a:gd name="T15" fmla="*/ 48 h 216"/>
                  <a:gd name="T16" fmla="*/ 211 w 216"/>
                  <a:gd name="T17" fmla="*/ 1 h 216"/>
                  <a:gd name="T18" fmla="*/ 214 w 216"/>
                  <a:gd name="T19" fmla="*/ 1 h 216"/>
                  <a:gd name="T20" fmla="*/ 216 w 216"/>
                  <a:gd name="T21" fmla="*/ 4 h 216"/>
                  <a:gd name="T22" fmla="*/ 216 w 216"/>
                  <a:gd name="T23" fmla="*/ 160 h 216"/>
                  <a:gd name="T24" fmla="*/ 214 w 216"/>
                  <a:gd name="T25" fmla="*/ 164 h 216"/>
                  <a:gd name="T26" fmla="*/ 110 w 216"/>
                  <a:gd name="T27" fmla="*/ 216 h 216"/>
                  <a:gd name="T28" fmla="*/ 108 w 216"/>
                  <a:gd name="T29" fmla="*/ 216 h 216"/>
                  <a:gd name="T30" fmla="*/ 8 w 216"/>
                  <a:gd name="T31" fmla="*/ 158 h 216"/>
                  <a:gd name="T32" fmla="*/ 108 w 216"/>
                  <a:gd name="T33" fmla="*/ 208 h 216"/>
                  <a:gd name="T34" fmla="*/ 208 w 216"/>
                  <a:gd name="T35" fmla="*/ 158 h 216"/>
                  <a:gd name="T36" fmla="*/ 208 w 216"/>
                  <a:gd name="T37" fmla="*/ 11 h 216"/>
                  <a:gd name="T38" fmla="*/ 110 w 216"/>
                  <a:gd name="T39" fmla="*/ 56 h 216"/>
                  <a:gd name="T40" fmla="*/ 107 w 216"/>
                  <a:gd name="T41" fmla="*/ 56 h 216"/>
                  <a:gd name="T42" fmla="*/ 8 w 216"/>
                  <a:gd name="T43" fmla="*/ 11 h 216"/>
                  <a:gd name="T44" fmla="*/ 8 w 216"/>
                  <a:gd name="T45" fmla="*/ 158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16" h="216">
                    <a:moveTo>
                      <a:pt x="108" y="216"/>
                    </a:moveTo>
                    <a:cubicBezTo>
                      <a:pt x="108" y="216"/>
                      <a:pt x="107" y="216"/>
                      <a:pt x="107" y="216"/>
                    </a:cubicBezTo>
                    <a:cubicBezTo>
                      <a:pt x="3" y="164"/>
                      <a:pt x="3" y="164"/>
                      <a:pt x="3" y="164"/>
                    </a:cubicBezTo>
                    <a:cubicBezTo>
                      <a:pt x="1" y="163"/>
                      <a:pt x="0" y="162"/>
                      <a:pt x="0" y="16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1" y="2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108" y="48"/>
                      <a:pt x="108" y="48"/>
                      <a:pt x="108" y="48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2" y="0"/>
                      <a:pt x="213" y="0"/>
                      <a:pt x="214" y="1"/>
                    </a:cubicBezTo>
                    <a:cubicBezTo>
                      <a:pt x="216" y="2"/>
                      <a:pt x="216" y="3"/>
                      <a:pt x="216" y="4"/>
                    </a:cubicBezTo>
                    <a:cubicBezTo>
                      <a:pt x="216" y="160"/>
                      <a:pt x="216" y="160"/>
                      <a:pt x="216" y="160"/>
                    </a:cubicBezTo>
                    <a:cubicBezTo>
                      <a:pt x="216" y="162"/>
                      <a:pt x="215" y="163"/>
                      <a:pt x="214" y="164"/>
                    </a:cubicBezTo>
                    <a:cubicBezTo>
                      <a:pt x="110" y="216"/>
                      <a:pt x="110" y="216"/>
                      <a:pt x="110" y="216"/>
                    </a:cubicBezTo>
                    <a:cubicBezTo>
                      <a:pt x="110" y="216"/>
                      <a:pt x="109" y="216"/>
                      <a:pt x="108" y="216"/>
                    </a:cubicBezTo>
                    <a:close/>
                    <a:moveTo>
                      <a:pt x="8" y="158"/>
                    </a:moveTo>
                    <a:cubicBezTo>
                      <a:pt x="108" y="208"/>
                      <a:pt x="108" y="208"/>
                      <a:pt x="108" y="208"/>
                    </a:cubicBezTo>
                    <a:cubicBezTo>
                      <a:pt x="208" y="158"/>
                      <a:pt x="208" y="158"/>
                      <a:pt x="208" y="158"/>
                    </a:cubicBezTo>
                    <a:cubicBezTo>
                      <a:pt x="208" y="11"/>
                      <a:pt x="208" y="11"/>
                      <a:pt x="208" y="11"/>
                    </a:cubicBezTo>
                    <a:cubicBezTo>
                      <a:pt x="110" y="56"/>
                      <a:pt x="110" y="56"/>
                      <a:pt x="110" y="56"/>
                    </a:cubicBezTo>
                    <a:cubicBezTo>
                      <a:pt x="109" y="56"/>
                      <a:pt x="108" y="56"/>
                      <a:pt x="107" y="56"/>
                    </a:cubicBezTo>
                    <a:cubicBezTo>
                      <a:pt x="8" y="11"/>
                      <a:pt x="8" y="11"/>
                      <a:pt x="8" y="11"/>
                    </a:cubicBezTo>
                    <a:lnTo>
                      <a:pt x="8" y="15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" name="Freeform 302">
                <a:extLst>
                  <a:ext uri="{FF2B5EF4-FFF2-40B4-BE49-F238E27FC236}">
                    <a16:creationId xmlns:a16="http://schemas.microsoft.com/office/drawing/2014/main" id="{F31B7AFC-0B8E-129E-5789-FBD94525F8E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64364" y="6351"/>
                <a:ext cx="254000" cy="71438"/>
              </a:xfrm>
              <a:custGeom>
                <a:avLst/>
                <a:gdLst>
                  <a:gd name="T0" fmla="*/ 84 w 169"/>
                  <a:gd name="T1" fmla="*/ 48 h 48"/>
                  <a:gd name="T2" fmla="*/ 83 w 169"/>
                  <a:gd name="T3" fmla="*/ 48 h 48"/>
                  <a:gd name="T4" fmla="*/ 3 w 169"/>
                  <a:gd name="T5" fmla="*/ 8 h 48"/>
                  <a:gd name="T6" fmla="*/ 1 w 169"/>
                  <a:gd name="T7" fmla="*/ 3 h 48"/>
                  <a:gd name="T8" fmla="*/ 6 w 169"/>
                  <a:gd name="T9" fmla="*/ 1 h 48"/>
                  <a:gd name="T10" fmla="*/ 84 w 169"/>
                  <a:gd name="T11" fmla="*/ 40 h 48"/>
                  <a:gd name="T12" fmla="*/ 163 w 169"/>
                  <a:gd name="T13" fmla="*/ 1 h 48"/>
                  <a:gd name="T14" fmla="*/ 168 w 169"/>
                  <a:gd name="T15" fmla="*/ 3 h 48"/>
                  <a:gd name="T16" fmla="*/ 166 w 169"/>
                  <a:gd name="T17" fmla="*/ 8 h 48"/>
                  <a:gd name="T18" fmla="*/ 86 w 169"/>
                  <a:gd name="T19" fmla="*/ 48 h 48"/>
                  <a:gd name="T20" fmla="*/ 84 w 169"/>
                  <a:gd name="T21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9" h="48">
                    <a:moveTo>
                      <a:pt x="84" y="48"/>
                    </a:moveTo>
                    <a:cubicBezTo>
                      <a:pt x="84" y="48"/>
                      <a:pt x="83" y="48"/>
                      <a:pt x="83" y="4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84" y="40"/>
                      <a:pt x="84" y="40"/>
                      <a:pt x="84" y="40"/>
                    </a:cubicBezTo>
                    <a:cubicBezTo>
                      <a:pt x="163" y="1"/>
                      <a:pt x="163" y="1"/>
                      <a:pt x="163" y="1"/>
                    </a:cubicBezTo>
                    <a:cubicBezTo>
                      <a:pt x="165" y="0"/>
                      <a:pt x="167" y="1"/>
                      <a:pt x="168" y="3"/>
                    </a:cubicBezTo>
                    <a:cubicBezTo>
                      <a:pt x="169" y="5"/>
                      <a:pt x="168" y="7"/>
                      <a:pt x="166" y="8"/>
                    </a:cubicBezTo>
                    <a:cubicBezTo>
                      <a:pt x="86" y="48"/>
                      <a:pt x="86" y="48"/>
                      <a:pt x="86" y="48"/>
                    </a:cubicBezTo>
                    <a:cubicBezTo>
                      <a:pt x="86" y="48"/>
                      <a:pt x="85" y="48"/>
                      <a:pt x="84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" name="Freeform 303">
                <a:extLst>
                  <a:ext uri="{FF2B5EF4-FFF2-40B4-BE49-F238E27FC236}">
                    <a16:creationId xmlns:a16="http://schemas.microsoft.com/office/drawing/2014/main" id="{FCC507E0-3AE6-6549-4A9C-0600EAF9E66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83426" y="101601"/>
                <a:ext cx="12700" cy="254000"/>
              </a:xfrm>
              <a:custGeom>
                <a:avLst/>
                <a:gdLst>
                  <a:gd name="T0" fmla="*/ 4 w 8"/>
                  <a:gd name="T1" fmla="*/ 168 h 168"/>
                  <a:gd name="T2" fmla="*/ 0 w 8"/>
                  <a:gd name="T3" fmla="*/ 164 h 168"/>
                  <a:gd name="T4" fmla="*/ 0 w 8"/>
                  <a:gd name="T5" fmla="*/ 4 h 168"/>
                  <a:gd name="T6" fmla="*/ 4 w 8"/>
                  <a:gd name="T7" fmla="*/ 0 h 168"/>
                  <a:gd name="T8" fmla="*/ 8 w 8"/>
                  <a:gd name="T9" fmla="*/ 4 h 168"/>
                  <a:gd name="T10" fmla="*/ 8 w 8"/>
                  <a:gd name="T11" fmla="*/ 164 h 168"/>
                  <a:gd name="T12" fmla="*/ 4 w 8"/>
                  <a:gd name="T13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168">
                    <a:moveTo>
                      <a:pt x="4" y="168"/>
                    </a:moveTo>
                    <a:cubicBezTo>
                      <a:pt x="2" y="168"/>
                      <a:pt x="0" y="167"/>
                      <a:pt x="0" y="16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8" y="164"/>
                      <a:pt x="8" y="164"/>
                      <a:pt x="8" y="164"/>
                    </a:cubicBezTo>
                    <a:cubicBezTo>
                      <a:pt x="8" y="167"/>
                      <a:pt x="7" y="168"/>
                      <a:pt x="4" y="1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2" name="Gruppieren 44">
              <a:extLst>
                <a:ext uri="{FF2B5EF4-FFF2-40B4-BE49-F238E27FC236}">
                  <a16:creationId xmlns:a16="http://schemas.microsoft.com/office/drawing/2014/main" id="{41AF63A7-9A0F-D74C-30DB-1CF49F976BA0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6365428" y="5125883"/>
              <a:ext cx="261938" cy="282482"/>
              <a:chOff x="6927851" y="6351"/>
              <a:chExt cx="323850" cy="349250"/>
            </a:xfrm>
            <a:grpFill/>
          </p:grpSpPr>
          <p:sp>
            <p:nvSpPr>
              <p:cNvPr id="60" name="Freeform 301">
                <a:extLst>
                  <a:ext uri="{FF2B5EF4-FFF2-40B4-BE49-F238E27FC236}">
                    <a16:creationId xmlns:a16="http://schemas.microsoft.com/office/drawing/2014/main" id="{CD92F4CC-72DE-34E7-030F-1CBDD791E0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27851" y="30163"/>
                <a:ext cx="323850" cy="325438"/>
              </a:xfrm>
              <a:custGeom>
                <a:avLst/>
                <a:gdLst>
                  <a:gd name="T0" fmla="*/ 108 w 216"/>
                  <a:gd name="T1" fmla="*/ 216 h 216"/>
                  <a:gd name="T2" fmla="*/ 107 w 216"/>
                  <a:gd name="T3" fmla="*/ 216 h 216"/>
                  <a:gd name="T4" fmla="*/ 3 w 216"/>
                  <a:gd name="T5" fmla="*/ 164 h 216"/>
                  <a:gd name="T6" fmla="*/ 0 w 216"/>
                  <a:gd name="T7" fmla="*/ 160 h 216"/>
                  <a:gd name="T8" fmla="*/ 0 w 216"/>
                  <a:gd name="T9" fmla="*/ 4 h 216"/>
                  <a:gd name="T10" fmla="*/ 2 w 216"/>
                  <a:gd name="T11" fmla="*/ 1 h 216"/>
                  <a:gd name="T12" fmla="*/ 6 w 216"/>
                  <a:gd name="T13" fmla="*/ 1 h 216"/>
                  <a:gd name="T14" fmla="*/ 108 w 216"/>
                  <a:gd name="T15" fmla="*/ 48 h 216"/>
                  <a:gd name="T16" fmla="*/ 211 w 216"/>
                  <a:gd name="T17" fmla="*/ 1 h 216"/>
                  <a:gd name="T18" fmla="*/ 214 w 216"/>
                  <a:gd name="T19" fmla="*/ 1 h 216"/>
                  <a:gd name="T20" fmla="*/ 216 w 216"/>
                  <a:gd name="T21" fmla="*/ 4 h 216"/>
                  <a:gd name="T22" fmla="*/ 216 w 216"/>
                  <a:gd name="T23" fmla="*/ 160 h 216"/>
                  <a:gd name="T24" fmla="*/ 214 w 216"/>
                  <a:gd name="T25" fmla="*/ 164 h 216"/>
                  <a:gd name="T26" fmla="*/ 110 w 216"/>
                  <a:gd name="T27" fmla="*/ 216 h 216"/>
                  <a:gd name="T28" fmla="*/ 108 w 216"/>
                  <a:gd name="T29" fmla="*/ 216 h 216"/>
                  <a:gd name="T30" fmla="*/ 8 w 216"/>
                  <a:gd name="T31" fmla="*/ 158 h 216"/>
                  <a:gd name="T32" fmla="*/ 108 w 216"/>
                  <a:gd name="T33" fmla="*/ 208 h 216"/>
                  <a:gd name="T34" fmla="*/ 208 w 216"/>
                  <a:gd name="T35" fmla="*/ 158 h 216"/>
                  <a:gd name="T36" fmla="*/ 208 w 216"/>
                  <a:gd name="T37" fmla="*/ 11 h 216"/>
                  <a:gd name="T38" fmla="*/ 110 w 216"/>
                  <a:gd name="T39" fmla="*/ 56 h 216"/>
                  <a:gd name="T40" fmla="*/ 107 w 216"/>
                  <a:gd name="T41" fmla="*/ 56 h 216"/>
                  <a:gd name="T42" fmla="*/ 8 w 216"/>
                  <a:gd name="T43" fmla="*/ 11 h 216"/>
                  <a:gd name="T44" fmla="*/ 8 w 216"/>
                  <a:gd name="T45" fmla="*/ 158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16" h="216">
                    <a:moveTo>
                      <a:pt x="108" y="216"/>
                    </a:moveTo>
                    <a:cubicBezTo>
                      <a:pt x="108" y="216"/>
                      <a:pt x="107" y="216"/>
                      <a:pt x="107" y="216"/>
                    </a:cubicBezTo>
                    <a:cubicBezTo>
                      <a:pt x="3" y="164"/>
                      <a:pt x="3" y="164"/>
                      <a:pt x="3" y="164"/>
                    </a:cubicBezTo>
                    <a:cubicBezTo>
                      <a:pt x="1" y="163"/>
                      <a:pt x="0" y="162"/>
                      <a:pt x="0" y="16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1" y="2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108" y="48"/>
                      <a:pt x="108" y="48"/>
                      <a:pt x="108" y="48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2" y="0"/>
                      <a:pt x="213" y="0"/>
                      <a:pt x="214" y="1"/>
                    </a:cubicBezTo>
                    <a:cubicBezTo>
                      <a:pt x="216" y="2"/>
                      <a:pt x="216" y="3"/>
                      <a:pt x="216" y="4"/>
                    </a:cubicBezTo>
                    <a:cubicBezTo>
                      <a:pt x="216" y="160"/>
                      <a:pt x="216" y="160"/>
                      <a:pt x="216" y="160"/>
                    </a:cubicBezTo>
                    <a:cubicBezTo>
                      <a:pt x="216" y="162"/>
                      <a:pt x="215" y="163"/>
                      <a:pt x="214" y="164"/>
                    </a:cubicBezTo>
                    <a:cubicBezTo>
                      <a:pt x="110" y="216"/>
                      <a:pt x="110" y="216"/>
                      <a:pt x="110" y="216"/>
                    </a:cubicBezTo>
                    <a:cubicBezTo>
                      <a:pt x="110" y="216"/>
                      <a:pt x="109" y="216"/>
                      <a:pt x="108" y="216"/>
                    </a:cubicBezTo>
                    <a:close/>
                    <a:moveTo>
                      <a:pt x="8" y="158"/>
                    </a:moveTo>
                    <a:cubicBezTo>
                      <a:pt x="108" y="208"/>
                      <a:pt x="108" y="208"/>
                      <a:pt x="108" y="208"/>
                    </a:cubicBezTo>
                    <a:cubicBezTo>
                      <a:pt x="208" y="158"/>
                      <a:pt x="208" y="158"/>
                      <a:pt x="208" y="158"/>
                    </a:cubicBezTo>
                    <a:cubicBezTo>
                      <a:pt x="208" y="11"/>
                      <a:pt x="208" y="11"/>
                      <a:pt x="208" y="11"/>
                    </a:cubicBezTo>
                    <a:cubicBezTo>
                      <a:pt x="110" y="56"/>
                      <a:pt x="110" y="56"/>
                      <a:pt x="110" y="56"/>
                    </a:cubicBezTo>
                    <a:cubicBezTo>
                      <a:pt x="109" y="56"/>
                      <a:pt x="108" y="56"/>
                      <a:pt x="107" y="56"/>
                    </a:cubicBezTo>
                    <a:cubicBezTo>
                      <a:pt x="8" y="11"/>
                      <a:pt x="8" y="11"/>
                      <a:pt x="8" y="11"/>
                    </a:cubicBezTo>
                    <a:lnTo>
                      <a:pt x="8" y="15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" name="Freeform 302">
                <a:extLst>
                  <a:ext uri="{FF2B5EF4-FFF2-40B4-BE49-F238E27FC236}">
                    <a16:creationId xmlns:a16="http://schemas.microsoft.com/office/drawing/2014/main" id="{499F7DAF-F0E4-E11B-AADE-75510A469E3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64364" y="6351"/>
                <a:ext cx="254000" cy="71438"/>
              </a:xfrm>
              <a:custGeom>
                <a:avLst/>
                <a:gdLst>
                  <a:gd name="T0" fmla="*/ 84 w 169"/>
                  <a:gd name="T1" fmla="*/ 48 h 48"/>
                  <a:gd name="T2" fmla="*/ 83 w 169"/>
                  <a:gd name="T3" fmla="*/ 48 h 48"/>
                  <a:gd name="T4" fmla="*/ 3 w 169"/>
                  <a:gd name="T5" fmla="*/ 8 h 48"/>
                  <a:gd name="T6" fmla="*/ 1 w 169"/>
                  <a:gd name="T7" fmla="*/ 3 h 48"/>
                  <a:gd name="T8" fmla="*/ 6 w 169"/>
                  <a:gd name="T9" fmla="*/ 1 h 48"/>
                  <a:gd name="T10" fmla="*/ 84 w 169"/>
                  <a:gd name="T11" fmla="*/ 40 h 48"/>
                  <a:gd name="T12" fmla="*/ 163 w 169"/>
                  <a:gd name="T13" fmla="*/ 1 h 48"/>
                  <a:gd name="T14" fmla="*/ 168 w 169"/>
                  <a:gd name="T15" fmla="*/ 3 h 48"/>
                  <a:gd name="T16" fmla="*/ 166 w 169"/>
                  <a:gd name="T17" fmla="*/ 8 h 48"/>
                  <a:gd name="T18" fmla="*/ 86 w 169"/>
                  <a:gd name="T19" fmla="*/ 48 h 48"/>
                  <a:gd name="T20" fmla="*/ 84 w 169"/>
                  <a:gd name="T21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9" h="48">
                    <a:moveTo>
                      <a:pt x="84" y="48"/>
                    </a:moveTo>
                    <a:cubicBezTo>
                      <a:pt x="84" y="48"/>
                      <a:pt x="83" y="48"/>
                      <a:pt x="83" y="4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84" y="40"/>
                      <a:pt x="84" y="40"/>
                      <a:pt x="84" y="40"/>
                    </a:cubicBezTo>
                    <a:cubicBezTo>
                      <a:pt x="163" y="1"/>
                      <a:pt x="163" y="1"/>
                      <a:pt x="163" y="1"/>
                    </a:cubicBezTo>
                    <a:cubicBezTo>
                      <a:pt x="165" y="0"/>
                      <a:pt x="167" y="1"/>
                      <a:pt x="168" y="3"/>
                    </a:cubicBezTo>
                    <a:cubicBezTo>
                      <a:pt x="169" y="5"/>
                      <a:pt x="168" y="7"/>
                      <a:pt x="166" y="8"/>
                    </a:cubicBezTo>
                    <a:cubicBezTo>
                      <a:pt x="86" y="48"/>
                      <a:pt x="86" y="48"/>
                      <a:pt x="86" y="48"/>
                    </a:cubicBezTo>
                    <a:cubicBezTo>
                      <a:pt x="86" y="48"/>
                      <a:pt x="85" y="48"/>
                      <a:pt x="84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" name="Freeform 303">
                <a:extLst>
                  <a:ext uri="{FF2B5EF4-FFF2-40B4-BE49-F238E27FC236}">
                    <a16:creationId xmlns:a16="http://schemas.microsoft.com/office/drawing/2014/main" id="{5B4D5BAE-FF5D-9B39-FB72-D0CCFF783E8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83426" y="101601"/>
                <a:ext cx="12700" cy="254000"/>
              </a:xfrm>
              <a:custGeom>
                <a:avLst/>
                <a:gdLst>
                  <a:gd name="T0" fmla="*/ 4 w 8"/>
                  <a:gd name="T1" fmla="*/ 168 h 168"/>
                  <a:gd name="T2" fmla="*/ 0 w 8"/>
                  <a:gd name="T3" fmla="*/ 164 h 168"/>
                  <a:gd name="T4" fmla="*/ 0 w 8"/>
                  <a:gd name="T5" fmla="*/ 4 h 168"/>
                  <a:gd name="T6" fmla="*/ 4 w 8"/>
                  <a:gd name="T7" fmla="*/ 0 h 168"/>
                  <a:gd name="T8" fmla="*/ 8 w 8"/>
                  <a:gd name="T9" fmla="*/ 4 h 168"/>
                  <a:gd name="T10" fmla="*/ 8 w 8"/>
                  <a:gd name="T11" fmla="*/ 164 h 168"/>
                  <a:gd name="T12" fmla="*/ 4 w 8"/>
                  <a:gd name="T13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168">
                    <a:moveTo>
                      <a:pt x="4" y="168"/>
                    </a:moveTo>
                    <a:cubicBezTo>
                      <a:pt x="2" y="168"/>
                      <a:pt x="0" y="167"/>
                      <a:pt x="0" y="16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8" y="164"/>
                      <a:pt x="8" y="164"/>
                      <a:pt x="8" y="164"/>
                    </a:cubicBezTo>
                    <a:cubicBezTo>
                      <a:pt x="8" y="167"/>
                      <a:pt x="7" y="168"/>
                      <a:pt x="4" y="1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3" name="Gruppieren 45">
              <a:extLst>
                <a:ext uri="{FF2B5EF4-FFF2-40B4-BE49-F238E27FC236}">
                  <a16:creationId xmlns:a16="http://schemas.microsoft.com/office/drawing/2014/main" id="{6C32A05E-48B4-B9D9-DE20-912BD367DC0C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6686236" y="5125883"/>
              <a:ext cx="261938" cy="282482"/>
              <a:chOff x="6927851" y="6351"/>
              <a:chExt cx="323850" cy="349250"/>
            </a:xfrm>
            <a:grpFill/>
          </p:grpSpPr>
          <p:sp>
            <p:nvSpPr>
              <p:cNvPr id="57" name="Freeform 301">
                <a:extLst>
                  <a:ext uri="{FF2B5EF4-FFF2-40B4-BE49-F238E27FC236}">
                    <a16:creationId xmlns:a16="http://schemas.microsoft.com/office/drawing/2014/main" id="{D99972DC-8066-F360-E402-23887A3307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27851" y="30163"/>
                <a:ext cx="323850" cy="325438"/>
              </a:xfrm>
              <a:custGeom>
                <a:avLst/>
                <a:gdLst>
                  <a:gd name="T0" fmla="*/ 108 w 216"/>
                  <a:gd name="T1" fmla="*/ 216 h 216"/>
                  <a:gd name="T2" fmla="*/ 107 w 216"/>
                  <a:gd name="T3" fmla="*/ 216 h 216"/>
                  <a:gd name="T4" fmla="*/ 3 w 216"/>
                  <a:gd name="T5" fmla="*/ 164 h 216"/>
                  <a:gd name="T6" fmla="*/ 0 w 216"/>
                  <a:gd name="T7" fmla="*/ 160 h 216"/>
                  <a:gd name="T8" fmla="*/ 0 w 216"/>
                  <a:gd name="T9" fmla="*/ 4 h 216"/>
                  <a:gd name="T10" fmla="*/ 2 w 216"/>
                  <a:gd name="T11" fmla="*/ 1 h 216"/>
                  <a:gd name="T12" fmla="*/ 6 w 216"/>
                  <a:gd name="T13" fmla="*/ 1 h 216"/>
                  <a:gd name="T14" fmla="*/ 108 w 216"/>
                  <a:gd name="T15" fmla="*/ 48 h 216"/>
                  <a:gd name="T16" fmla="*/ 211 w 216"/>
                  <a:gd name="T17" fmla="*/ 1 h 216"/>
                  <a:gd name="T18" fmla="*/ 214 w 216"/>
                  <a:gd name="T19" fmla="*/ 1 h 216"/>
                  <a:gd name="T20" fmla="*/ 216 w 216"/>
                  <a:gd name="T21" fmla="*/ 4 h 216"/>
                  <a:gd name="T22" fmla="*/ 216 w 216"/>
                  <a:gd name="T23" fmla="*/ 160 h 216"/>
                  <a:gd name="T24" fmla="*/ 214 w 216"/>
                  <a:gd name="T25" fmla="*/ 164 h 216"/>
                  <a:gd name="T26" fmla="*/ 110 w 216"/>
                  <a:gd name="T27" fmla="*/ 216 h 216"/>
                  <a:gd name="T28" fmla="*/ 108 w 216"/>
                  <a:gd name="T29" fmla="*/ 216 h 216"/>
                  <a:gd name="T30" fmla="*/ 8 w 216"/>
                  <a:gd name="T31" fmla="*/ 158 h 216"/>
                  <a:gd name="T32" fmla="*/ 108 w 216"/>
                  <a:gd name="T33" fmla="*/ 208 h 216"/>
                  <a:gd name="T34" fmla="*/ 208 w 216"/>
                  <a:gd name="T35" fmla="*/ 158 h 216"/>
                  <a:gd name="T36" fmla="*/ 208 w 216"/>
                  <a:gd name="T37" fmla="*/ 11 h 216"/>
                  <a:gd name="T38" fmla="*/ 110 w 216"/>
                  <a:gd name="T39" fmla="*/ 56 h 216"/>
                  <a:gd name="T40" fmla="*/ 107 w 216"/>
                  <a:gd name="T41" fmla="*/ 56 h 216"/>
                  <a:gd name="T42" fmla="*/ 8 w 216"/>
                  <a:gd name="T43" fmla="*/ 11 h 216"/>
                  <a:gd name="T44" fmla="*/ 8 w 216"/>
                  <a:gd name="T45" fmla="*/ 158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16" h="216">
                    <a:moveTo>
                      <a:pt x="108" y="216"/>
                    </a:moveTo>
                    <a:cubicBezTo>
                      <a:pt x="108" y="216"/>
                      <a:pt x="107" y="216"/>
                      <a:pt x="107" y="216"/>
                    </a:cubicBezTo>
                    <a:cubicBezTo>
                      <a:pt x="3" y="164"/>
                      <a:pt x="3" y="164"/>
                      <a:pt x="3" y="164"/>
                    </a:cubicBezTo>
                    <a:cubicBezTo>
                      <a:pt x="1" y="163"/>
                      <a:pt x="0" y="162"/>
                      <a:pt x="0" y="16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1" y="2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108" y="48"/>
                      <a:pt x="108" y="48"/>
                      <a:pt x="108" y="48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2" y="0"/>
                      <a:pt x="213" y="0"/>
                      <a:pt x="214" y="1"/>
                    </a:cubicBezTo>
                    <a:cubicBezTo>
                      <a:pt x="216" y="2"/>
                      <a:pt x="216" y="3"/>
                      <a:pt x="216" y="4"/>
                    </a:cubicBezTo>
                    <a:cubicBezTo>
                      <a:pt x="216" y="160"/>
                      <a:pt x="216" y="160"/>
                      <a:pt x="216" y="160"/>
                    </a:cubicBezTo>
                    <a:cubicBezTo>
                      <a:pt x="216" y="162"/>
                      <a:pt x="215" y="163"/>
                      <a:pt x="214" y="164"/>
                    </a:cubicBezTo>
                    <a:cubicBezTo>
                      <a:pt x="110" y="216"/>
                      <a:pt x="110" y="216"/>
                      <a:pt x="110" y="216"/>
                    </a:cubicBezTo>
                    <a:cubicBezTo>
                      <a:pt x="110" y="216"/>
                      <a:pt x="109" y="216"/>
                      <a:pt x="108" y="216"/>
                    </a:cubicBezTo>
                    <a:close/>
                    <a:moveTo>
                      <a:pt x="8" y="158"/>
                    </a:moveTo>
                    <a:cubicBezTo>
                      <a:pt x="108" y="208"/>
                      <a:pt x="108" y="208"/>
                      <a:pt x="108" y="208"/>
                    </a:cubicBezTo>
                    <a:cubicBezTo>
                      <a:pt x="208" y="158"/>
                      <a:pt x="208" y="158"/>
                      <a:pt x="208" y="158"/>
                    </a:cubicBezTo>
                    <a:cubicBezTo>
                      <a:pt x="208" y="11"/>
                      <a:pt x="208" y="11"/>
                      <a:pt x="208" y="11"/>
                    </a:cubicBezTo>
                    <a:cubicBezTo>
                      <a:pt x="110" y="56"/>
                      <a:pt x="110" y="56"/>
                      <a:pt x="110" y="56"/>
                    </a:cubicBezTo>
                    <a:cubicBezTo>
                      <a:pt x="109" y="56"/>
                      <a:pt x="108" y="56"/>
                      <a:pt x="107" y="56"/>
                    </a:cubicBezTo>
                    <a:cubicBezTo>
                      <a:pt x="8" y="11"/>
                      <a:pt x="8" y="11"/>
                      <a:pt x="8" y="11"/>
                    </a:cubicBezTo>
                    <a:lnTo>
                      <a:pt x="8" y="15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" name="Freeform 302">
                <a:extLst>
                  <a:ext uri="{FF2B5EF4-FFF2-40B4-BE49-F238E27FC236}">
                    <a16:creationId xmlns:a16="http://schemas.microsoft.com/office/drawing/2014/main" id="{4FE767E7-37B2-3405-425C-210204FDB6E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64364" y="6351"/>
                <a:ext cx="254000" cy="71438"/>
              </a:xfrm>
              <a:custGeom>
                <a:avLst/>
                <a:gdLst>
                  <a:gd name="T0" fmla="*/ 84 w 169"/>
                  <a:gd name="T1" fmla="*/ 48 h 48"/>
                  <a:gd name="T2" fmla="*/ 83 w 169"/>
                  <a:gd name="T3" fmla="*/ 48 h 48"/>
                  <a:gd name="T4" fmla="*/ 3 w 169"/>
                  <a:gd name="T5" fmla="*/ 8 h 48"/>
                  <a:gd name="T6" fmla="*/ 1 w 169"/>
                  <a:gd name="T7" fmla="*/ 3 h 48"/>
                  <a:gd name="T8" fmla="*/ 6 w 169"/>
                  <a:gd name="T9" fmla="*/ 1 h 48"/>
                  <a:gd name="T10" fmla="*/ 84 w 169"/>
                  <a:gd name="T11" fmla="*/ 40 h 48"/>
                  <a:gd name="T12" fmla="*/ 163 w 169"/>
                  <a:gd name="T13" fmla="*/ 1 h 48"/>
                  <a:gd name="T14" fmla="*/ 168 w 169"/>
                  <a:gd name="T15" fmla="*/ 3 h 48"/>
                  <a:gd name="T16" fmla="*/ 166 w 169"/>
                  <a:gd name="T17" fmla="*/ 8 h 48"/>
                  <a:gd name="T18" fmla="*/ 86 w 169"/>
                  <a:gd name="T19" fmla="*/ 48 h 48"/>
                  <a:gd name="T20" fmla="*/ 84 w 169"/>
                  <a:gd name="T21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9" h="48">
                    <a:moveTo>
                      <a:pt x="84" y="48"/>
                    </a:moveTo>
                    <a:cubicBezTo>
                      <a:pt x="84" y="48"/>
                      <a:pt x="83" y="48"/>
                      <a:pt x="83" y="4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84" y="40"/>
                      <a:pt x="84" y="40"/>
                      <a:pt x="84" y="40"/>
                    </a:cubicBezTo>
                    <a:cubicBezTo>
                      <a:pt x="163" y="1"/>
                      <a:pt x="163" y="1"/>
                      <a:pt x="163" y="1"/>
                    </a:cubicBezTo>
                    <a:cubicBezTo>
                      <a:pt x="165" y="0"/>
                      <a:pt x="167" y="1"/>
                      <a:pt x="168" y="3"/>
                    </a:cubicBezTo>
                    <a:cubicBezTo>
                      <a:pt x="169" y="5"/>
                      <a:pt x="168" y="7"/>
                      <a:pt x="166" y="8"/>
                    </a:cubicBezTo>
                    <a:cubicBezTo>
                      <a:pt x="86" y="48"/>
                      <a:pt x="86" y="48"/>
                      <a:pt x="86" y="48"/>
                    </a:cubicBezTo>
                    <a:cubicBezTo>
                      <a:pt x="86" y="48"/>
                      <a:pt x="85" y="48"/>
                      <a:pt x="84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" name="Freeform 303">
                <a:extLst>
                  <a:ext uri="{FF2B5EF4-FFF2-40B4-BE49-F238E27FC236}">
                    <a16:creationId xmlns:a16="http://schemas.microsoft.com/office/drawing/2014/main" id="{A82E0D63-9160-E503-6DB2-99FD434587E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83426" y="101601"/>
                <a:ext cx="12700" cy="254000"/>
              </a:xfrm>
              <a:custGeom>
                <a:avLst/>
                <a:gdLst>
                  <a:gd name="T0" fmla="*/ 4 w 8"/>
                  <a:gd name="T1" fmla="*/ 168 h 168"/>
                  <a:gd name="T2" fmla="*/ 0 w 8"/>
                  <a:gd name="T3" fmla="*/ 164 h 168"/>
                  <a:gd name="T4" fmla="*/ 0 w 8"/>
                  <a:gd name="T5" fmla="*/ 4 h 168"/>
                  <a:gd name="T6" fmla="*/ 4 w 8"/>
                  <a:gd name="T7" fmla="*/ 0 h 168"/>
                  <a:gd name="T8" fmla="*/ 8 w 8"/>
                  <a:gd name="T9" fmla="*/ 4 h 168"/>
                  <a:gd name="T10" fmla="*/ 8 w 8"/>
                  <a:gd name="T11" fmla="*/ 164 h 168"/>
                  <a:gd name="T12" fmla="*/ 4 w 8"/>
                  <a:gd name="T13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168">
                    <a:moveTo>
                      <a:pt x="4" y="168"/>
                    </a:moveTo>
                    <a:cubicBezTo>
                      <a:pt x="2" y="168"/>
                      <a:pt x="0" y="167"/>
                      <a:pt x="0" y="16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8" y="164"/>
                      <a:pt x="8" y="164"/>
                      <a:pt x="8" y="164"/>
                    </a:cubicBezTo>
                    <a:cubicBezTo>
                      <a:pt x="8" y="167"/>
                      <a:pt x="7" y="168"/>
                      <a:pt x="4" y="1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5" name="Gruppieren 46">
              <a:extLst>
                <a:ext uri="{FF2B5EF4-FFF2-40B4-BE49-F238E27FC236}">
                  <a16:creationId xmlns:a16="http://schemas.microsoft.com/office/drawing/2014/main" id="{9BDF9539-D130-7564-6052-298074834FE6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007044" y="5125883"/>
              <a:ext cx="261938" cy="282482"/>
              <a:chOff x="6927851" y="6351"/>
              <a:chExt cx="323850" cy="349250"/>
            </a:xfrm>
            <a:grpFill/>
          </p:grpSpPr>
          <p:sp>
            <p:nvSpPr>
              <p:cNvPr id="54" name="Freeform 301">
                <a:extLst>
                  <a:ext uri="{FF2B5EF4-FFF2-40B4-BE49-F238E27FC236}">
                    <a16:creationId xmlns:a16="http://schemas.microsoft.com/office/drawing/2014/main" id="{399B5274-2498-3288-3C76-923F680A7E5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27851" y="30163"/>
                <a:ext cx="323850" cy="325438"/>
              </a:xfrm>
              <a:custGeom>
                <a:avLst/>
                <a:gdLst>
                  <a:gd name="T0" fmla="*/ 108 w 216"/>
                  <a:gd name="T1" fmla="*/ 216 h 216"/>
                  <a:gd name="T2" fmla="*/ 107 w 216"/>
                  <a:gd name="T3" fmla="*/ 216 h 216"/>
                  <a:gd name="T4" fmla="*/ 3 w 216"/>
                  <a:gd name="T5" fmla="*/ 164 h 216"/>
                  <a:gd name="T6" fmla="*/ 0 w 216"/>
                  <a:gd name="T7" fmla="*/ 160 h 216"/>
                  <a:gd name="T8" fmla="*/ 0 w 216"/>
                  <a:gd name="T9" fmla="*/ 4 h 216"/>
                  <a:gd name="T10" fmla="*/ 2 w 216"/>
                  <a:gd name="T11" fmla="*/ 1 h 216"/>
                  <a:gd name="T12" fmla="*/ 6 w 216"/>
                  <a:gd name="T13" fmla="*/ 1 h 216"/>
                  <a:gd name="T14" fmla="*/ 108 w 216"/>
                  <a:gd name="T15" fmla="*/ 48 h 216"/>
                  <a:gd name="T16" fmla="*/ 211 w 216"/>
                  <a:gd name="T17" fmla="*/ 1 h 216"/>
                  <a:gd name="T18" fmla="*/ 214 w 216"/>
                  <a:gd name="T19" fmla="*/ 1 h 216"/>
                  <a:gd name="T20" fmla="*/ 216 w 216"/>
                  <a:gd name="T21" fmla="*/ 4 h 216"/>
                  <a:gd name="T22" fmla="*/ 216 w 216"/>
                  <a:gd name="T23" fmla="*/ 160 h 216"/>
                  <a:gd name="T24" fmla="*/ 214 w 216"/>
                  <a:gd name="T25" fmla="*/ 164 h 216"/>
                  <a:gd name="T26" fmla="*/ 110 w 216"/>
                  <a:gd name="T27" fmla="*/ 216 h 216"/>
                  <a:gd name="T28" fmla="*/ 108 w 216"/>
                  <a:gd name="T29" fmla="*/ 216 h 216"/>
                  <a:gd name="T30" fmla="*/ 8 w 216"/>
                  <a:gd name="T31" fmla="*/ 158 h 216"/>
                  <a:gd name="T32" fmla="*/ 108 w 216"/>
                  <a:gd name="T33" fmla="*/ 208 h 216"/>
                  <a:gd name="T34" fmla="*/ 208 w 216"/>
                  <a:gd name="T35" fmla="*/ 158 h 216"/>
                  <a:gd name="T36" fmla="*/ 208 w 216"/>
                  <a:gd name="T37" fmla="*/ 11 h 216"/>
                  <a:gd name="T38" fmla="*/ 110 w 216"/>
                  <a:gd name="T39" fmla="*/ 56 h 216"/>
                  <a:gd name="T40" fmla="*/ 107 w 216"/>
                  <a:gd name="T41" fmla="*/ 56 h 216"/>
                  <a:gd name="T42" fmla="*/ 8 w 216"/>
                  <a:gd name="T43" fmla="*/ 11 h 216"/>
                  <a:gd name="T44" fmla="*/ 8 w 216"/>
                  <a:gd name="T45" fmla="*/ 158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16" h="216">
                    <a:moveTo>
                      <a:pt x="108" y="216"/>
                    </a:moveTo>
                    <a:cubicBezTo>
                      <a:pt x="108" y="216"/>
                      <a:pt x="107" y="216"/>
                      <a:pt x="107" y="216"/>
                    </a:cubicBezTo>
                    <a:cubicBezTo>
                      <a:pt x="3" y="164"/>
                      <a:pt x="3" y="164"/>
                      <a:pt x="3" y="164"/>
                    </a:cubicBezTo>
                    <a:cubicBezTo>
                      <a:pt x="1" y="163"/>
                      <a:pt x="0" y="162"/>
                      <a:pt x="0" y="16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1" y="2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108" y="48"/>
                      <a:pt x="108" y="48"/>
                      <a:pt x="108" y="48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2" y="0"/>
                      <a:pt x="213" y="0"/>
                      <a:pt x="214" y="1"/>
                    </a:cubicBezTo>
                    <a:cubicBezTo>
                      <a:pt x="216" y="2"/>
                      <a:pt x="216" y="3"/>
                      <a:pt x="216" y="4"/>
                    </a:cubicBezTo>
                    <a:cubicBezTo>
                      <a:pt x="216" y="160"/>
                      <a:pt x="216" y="160"/>
                      <a:pt x="216" y="160"/>
                    </a:cubicBezTo>
                    <a:cubicBezTo>
                      <a:pt x="216" y="162"/>
                      <a:pt x="215" y="163"/>
                      <a:pt x="214" y="164"/>
                    </a:cubicBezTo>
                    <a:cubicBezTo>
                      <a:pt x="110" y="216"/>
                      <a:pt x="110" y="216"/>
                      <a:pt x="110" y="216"/>
                    </a:cubicBezTo>
                    <a:cubicBezTo>
                      <a:pt x="110" y="216"/>
                      <a:pt x="109" y="216"/>
                      <a:pt x="108" y="216"/>
                    </a:cubicBezTo>
                    <a:close/>
                    <a:moveTo>
                      <a:pt x="8" y="158"/>
                    </a:moveTo>
                    <a:cubicBezTo>
                      <a:pt x="108" y="208"/>
                      <a:pt x="108" y="208"/>
                      <a:pt x="108" y="208"/>
                    </a:cubicBezTo>
                    <a:cubicBezTo>
                      <a:pt x="208" y="158"/>
                      <a:pt x="208" y="158"/>
                      <a:pt x="208" y="158"/>
                    </a:cubicBezTo>
                    <a:cubicBezTo>
                      <a:pt x="208" y="11"/>
                      <a:pt x="208" y="11"/>
                      <a:pt x="208" y="11"/>
                    </a:cubicBezTo>
                    <a:cubicBezTo>
                      <a:pt x="110" y="56"/>
                      <a:pt x="110" y="56"/>
                      <a:pt x="110" y="56"/>
                    </a:cubicBezTo>
                    <a:cubicBezTo>
                      <a:pt x="109" y="56"/>
                      <a:pt x="108" y="56"/>
                      <a:pt x="107" y="56"/>
                    </a:cubicBezTo>
                    <a:cubicBezTo>
                      <a:pt x="8" y="11"/>
                      <a:pt x="8" y="11"/>
                      <a:pt x="8" y="11"/>
                    </a:cubicBezTo>
                    <a:lnTo>
                      <a:pt x="8" y="15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" name="Freeform 302">
                <a:extLst>
                  <a:ext uri="{FF2B5EF4-FFF2-40B4-BE49-F238E27FC236}">
                    <a16:creationId xmlns:a16="http://schemas.microsoft.com/office/drawing/2014/main" id="{C0BE3084-9F32-27E9-352A-CFA95D2BA29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64364" y="6351"/>
                <a:ext cx="254000" cy="71438"/>
              </a:xfrm>
              <a:custGeom>
                <a:avLst/>
                <a:gdLst>
                  <a:gd name="T0" fmla="*/ 84 w 169"/>
                  <a:gd name="T1" fmla="*/ 48 h 48"/>
                  <a:gd name="T2" fmla="*/ 83 w 169"/>
                  <a:gd name="T3" fmla="*/ 48 h 48"/>
                  <a:gd name="T4" fmla="*/ 3 w 169"/>
                  <a:gd name="T5" fmla="*/ 8 h 48"/>
                  <a:gd name="T6" fmla="*/ 1 w 169"/>
                  <a:gd name="T7" fmla="*/ 3 h 48"/>
                  <a:gd name="T8" fmla="*/ 6 w 169"/>
                  <a:gd name="T9" fmla="*/ 1 h 48"/>
                  <a:gd name="T10" fmla="*/ 84 w 169"/>
                  <a:gd name="T11" fmla="*/ 40 h 48"/>
                  <a:gd name="T12" fmla="*/ 163 w 169"/>
                  <a:gd name="T13" fmla="*/ 1 h 48"/>
                  <a:gd name="T14" fmla="*/ 168 w 169"/>
                  <a:gd name="T15" fmla="*/ 3 h 48"/>
                  <a:gd name="T16" fmla="*/ 166 w 169"/>
                  <a:gd name="T17" fmla="*/ 8 h 48"/>
                  <a:gd name="T18" fmla="*/ 86 w 169"/>
                  <a:gd name="T19" fmla="*/ 48 h 48"/>
                  <a:gd name="T20" fmla="*/ 84 w 169"/>
                  <a:gd name="T21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9" h="48">
                    <a:moveTo>
                      <a:pt x="84" y="48"/>
                    </a:moveTo>
                    <a:cubicBezTo>
                      <a:pt x="84" y="48"/>
                      <a:pt x="83" y="48"/>
                      <a:pt x="83" y="4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84" y="40"/>
                      <a:pt x="84" y="40"/>
                      <a:pt x="84" y="40"/>
                    </a:cubicBezTo>
                    <a:cubicBezTo>
                      <a:pt x="163" y="1"/>
                      <a:pt x="163" y="1"/>
                      <a:pt x="163" y="1"/>
                    </a:cubicBezTo>
                    <a:cubicBezTo>
                      <a:pt x="165" y="0"/>
                      <a:pt x="167" y="1"/>
                      <a:pt x="168" y="3"/>
                    </a:cubicBezTo>
                    <a:cubicBezTo>
                      <a:pt x="169" y="5"/>
                      <a:pt x="168" y="7"/>
                      <a:pt x="166" y="8"/>
                    </a:cubicBezTo>
                    <a:cubicBezTo>
                      <a:pt x="86" y="48"/>
                      <a:pt x="86" y="48"/>
                      <a:pt x="86" y="48"/>
                    </a:cubicBezTo>
                    <a:cubicBezTo>
                      <a:pt x="86" y="48"/>
                      <a:pt x="85" y="48"/>
                      <a:pt x="84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" name="Freeform 303">
                <a:extLst>
                  <a:ext uri="{FF2B5EF4-FFF2-40B4-BE49-F238E27FC236}">
                    <a16:creationId xmlns:a16="http://schemas.microsoft.com/office/drawing/2014/main" id="{A61B4FD2-4BC2-C699-4F18-4C2FD891CA8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83426" y="101601"/>
                <a:ext cx="12700" cy="254000"/>
              </a:xfrm>
              <a:custGeom>
                <a:avLst/>
                <a:gdLst>
                  <a:gd name="T0" fmla="*/ 4 w 8"/>
                  <a:gd name="T1" fmla="*/ 168 h 168"/>
                  <a:gd name="T2" fmla="*/ 0 w 8"/>
                  <a:gd name="T3" fmla="*/ 164 h 168"/>
                  <a:gd name="T4" fmla="*/ 0 w 8"/>
                  <a:gd name="T5" fmla="*/ 4 h 168"/>
                  <a:gd name="T6" fmla="*/ 4 w 8"/>
                  <a:gd name="T7" fmla="*/ 0 h 168"/>
                  <a:gd name="T8" fmla="*/ 8 w 8"/>
                  <a:gd name="T9" fmla="*/ 4 h 168"/>
                  <a:gd name="T10" fmla="*/ 8 w 8"/>
                  <a:gd name="T11" fmla="*/ 164 h 168"/>
                  <a:gd name="T12" fmla="*/ 4 w 8"/>
                  <a:gd name="T13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168">
                    <a:moveTo>
                      <a:pt x="4" y="168"/>
                    </a:moveTo>
                    <a:cubicBezTo>
                      <a:pt x="2" y="168"/>
                      <a:pt x="0" y="167"/>
                      <a:pt x="0" y="16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8" y="164"/>
                      <a:pt x="8" y="164"/>
                      <a:pt x="8" y="164"/>
                    </a:cubicBezTo>
                    <a:cubicBezTo>
                      <a:pt x="8" y="167"/>
                      <a:pt x="7" y="168"/>
                      <a:pt x="4" y="1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6" name="Gruppieren 47">
              <a:extLst>
                <a:ext uri="{FF2B5EF4-FFF2-40B4-BE49-F238E27FC236}">
                  <a16:creationId xmlns:a16="http://schemas.microsoft.com/office/drawing/2014/main" id="{9FC7AFBB-F77D-C8C6-EFB2-51BC04B7E6A1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327852" y="5125883"/>
              <a:ext cx="261938" cy="282482"/>
              <a:chOff x="6927851" y="6351"/>
              <a:chExt cx="323850" cy="349250"/>
            </a:xfrm>
            <a:grpFill/>
          </p:grpSpPr>
          <p:sp>
            <p:nvSpPr>
              <p:cNvPr id="51" name="Freeform 301">
                <a:extLst>
                  <a:ext uri="{FF2B5EF4-FFF2-40B4-BE49-F238E27FC236}">
                    <a16:creationId xmlns:a16="http://schemas.microsoft.com/office/drawing/2014/main" id="{A1A1EDC5-71CA-182A-1603-4838B679A3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27851" y="30163"/>
                <a:ext cx="323850" cy="325438"/>
              </a:xfrm>
              <a:custGeom>
                <a:avLst/>
                <a:gdLst>
                  <a:gd name="T0" fmla="*/ 108 w 216"/>
                  <a:gd name="T1" fmla="*/ 216 h 216"/>
                  <a:gd name="T2" fmla="*/ 107 w 216"/>
                  <a:gd name="T3" fmla="*/ 216 h 216"/>
                  <a:gd name="T4" fmla="*/ 3 w 216"/>
                  <a:gd name="T5" fmla="*/ 164 h 216"/>
                  <a:gd name="T6" fmla="*/ 0 w 216"/>
                  <a:gd name="T7" fmla="*/ 160 h 216"/>
                  <a:gd name="T8" fmla="*/ 0 w 216"/>
                  <a:gd name="T9" fmla="*/ 4 h 216"/>
                  <a:gd name="T10" fmla="*/ 2 w 216"/>
                  <a:gd name="T11" fmla="*/ 1 h 216"/>
                  <a:gd name="T12" fmla="*/ 6 w 216"/>
                  <a:gd name="T13" fmla="*/ 1 h 216"/>
                  <a:gd name="T14" fmla="*/ 108 w 216"/>
                  <a:gd name="T15" fmla="*/ 48 h 216"/>
                  <a:gd name="T16" fmla="*/ 211 w 216"/>
                  <a:gd name="T17" fmla="*/ 1 h 216"/>
                  <a:gd name="T18" fmla="*/ 214 w 216"/>
                  <a:gd name="T19" fmla="*/ 1 h 216"/>
                  <a:gd name="T20" fmla="*/ 216 w 216"/>
                  <a:gd name="T21" fmla="*/ 4 h 216"/>
                  <a:gd name="T22" fmla="*/ 216 w 216"/>
                  <a:gd name="T23" fmla="*/ 160 h 216"/>
                  <a:gd name="T24" fmla="*/ 214 w 216"/>
                  <a:gd name="T25" fmla="*/ 164 h 216"/>
                  <a:gd name="T26" fmla="*/ 110 w 216"/>
                  <a:gd name="T27" fmla="*/ 216 h 216"/>
                  <a:gd name="T28" fmla="*/ 108 w 216"/>
                  <a:gd name="T29" fmla="*/ 216 h 216"/>
                  <a:gd name="T30" fmla="*/ 8 w 216"/>
                  <a:gd name="T31" fmla="*/ 158 h 216"/>
                  <a:gd name="T32" fmla="*/ 108 w 216"/>
                  <a:gd name="T33" fmla="*/ 208 h 216"/>
                  <a:gd name="T34" fmla="*/ 208 w 216"/>
                  <a:gd name="T35" fmla="*/ 158 h 216"/>
                  <a:gd name="T36" fmla="*/ 208 w 216"/>
                  <a:gd name="T37" fmla="*/ 11 h 216"/>
                  <a:gd name="T38" fmla="*/ 110 w 216"/>
                  <a:gd name="T39" fmla="*/ 56 h 216"/>
                  <a:gd name="T40" fmla="*/ 107 w 216"/>
                  <a:gd name="T41" fmla="*/ 56 h 216"/>
                  <a:gd name="T42" fmla="*/ 8 w 216"/>
                  <a:gd name="T43" fmla="*/ 11 h 216"/>
                  <a:gd name="T44" fmla="*/ 8 w 216"/>
                  <a:gd name="T45" fmla="*/ 158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16" h="216">
                    <a:moveTo>
                      <a:pt x="108" y="216"/>
                    </a:moveTo>
                    <a:cubicBezTo>
                      <a:pt x="108" y="216"/>
                      <a:pt x="107" y="216"/>
                      <a:pt x="107" y="216"/>
                    </a:cubicBezTo>
                    <a:cubicBezTo>
                      <a:pt x="3" y="164"/>
                      <a:pt x="3" y="164"/>
                      <a:pt x="3" y="164"/>
                    </a:cubicBezTo>
                    <a:cubicBezTo>
                      <a:pt x="1" y="163"/>
                      <a:pt x="0" y="162"/>
                      <a:pt x="0" y="16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1" y="2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108" y="48"/>
                      <a:pt x="108" y="48"/>
                      <a:pt x="108" y="48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2" y="0"/>
                      <a:pt x="213" y="0"/>
                      <a:pt x="214" y="1"/>
                    </a:cubicBezTo>
                    <a:cubicBezTo>
                      <a:pt x="216" y="2"/>
                      <a:pt x="216" y="3"/>
                      <a:pt x="216" y="4"/>
                    </a:cubicBezTo>
                    <a:cubicBezTo>
                      <a:pt x="216" y="160"/>
                      <a:pt x="216" y="160"/>
                      <a:pt x="216" y="160"/>
                    </a:cubicBezTo>
                    <a:cubicBezTo>
                      <a:pt x="216" y="162"/>
                      <a:pt x="215" y="163"/>
                      <a:pt x="214" y="164"/>
                    </a:cubicBezTo>
                    <a:cubicBezTo>
                      <a:pt x="110" y="216"/>
                      <a:pt x="110" y="216"/>
                      <a:pt x="110" y="216"/>
                    </a:cubicBezTo>
                    <a:cubicBezTo>
                      <a:pt x="110" y="216"/>
                      <a:pt x="109" y="216"/>
                      <a:pt x="108" y="216"/>
                    </a:cubicBezTo>
                    <a:close/>
                    <a:moveTo>
                      <a:pt x="8" y="158"/>
                    </a:moveTo>
                    <a:cubicBezTo>
                      <a:pt x="108" y="208"/>
                      <a:pt x="108" y="208"/>
                      <a:pt x="108" y="208"/>
                    </a:cubicBezTo>
                    <a:cubicBezTo>
                      <a:pt x="208" y="158"/>
                      <a:pt x="208" y="158"/>
                      <a:pt x="208" y="158"/>
                    </a:cubicBezTo>
                    <a:cubicBezTo>
                      <a:pt x="208" y="11"/>
                      <a:pt x="208" y="11"/>
                      <a:pt x="208" y="11"/>
                    </a:cubicBezTo>
                    <a:cubicBezTo>
                      <a:pt x="110" y="56"/>
                      <a:pt x="110" y="56"/>
                      <a:pt x="110" y="56"/>
                    </a:cubicBezTo>
                    <a:cubicBezTo>
                      <a:pt x="109" y="56"/>
                      <a:pt x="108" y="56"/>
                      <a:pt x="107" y="56"/>
                    </a:cubicBezTo>
                    <a:cubicBezTo>
                      <a:pt x="8" y="11"/>
                      <a:pt x="8" y="11"/>
                      <a:pt x="8" y="11"/>
                    </a:cubicBezTo>
                    <a:lnTo>
                      <a:pt x="8" y="15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" name="Freeform 302">
                <a:extLst>
                  <a:ext uri="{FF2B5EF4-FFF2-40B4-BE49-F238E27FC236}">
                    <a16:creationId xmlns:a16="http://schemas.microsoft.com/office/drawing/2014/main" id="{676DFA03-2094-ADC7-3D8D-260BE34B0A9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64364" y="6351"/>
                <a:ext cx="254000" cy="71438"/>
              </a:xfrm>
              <a:custGeom>
                <a:avLst/>
                <a:gdLst>
                  <a:gd name="T0" fmla="*/ 84 w 169"/>
                  <a:gd name="T1" fmla="*/ 48 h 48"/>
                  <a:gd name="T2" fmla="*/ 83 w 169"/>
                  <a:gd name="T3" fmla="*/ 48 h 48"/>
                  <a:gd name="T4" fmla="*/ 3 w 169"/>
                  <a:gd name="T5" fmla="*/ 8 h 48"/>
                  <a:gd name="T6" fmla="*/ 1 w 169"/>
                  <a:gd name="T7" fmla="*/ 3 h 48"/>
                  <a:gd name="T8" fmla="*/ 6 w 169"/>
                  <a:gd name="T9" fmla="*/ 1 h 48"/>
                  <a:gd name="T10" fmla="*/ 84 w 169"/>
                  <a:gd name="T11" fmla="*/ 40 h 48"/>
                  <a:gd name="T12" fmla="*/ 163 w 169"/>
                  <a:gd name="T13" fmla="*/ 1 h 48"/>
                  <a:gd name="T14" fmla="*/ 168 w 169"/>
                  <a:gd name="T15" fmla="*/ 3 h 48"/>
                  <a:gd name="T16" fmla="*/ 166 w 169"/>
                  <a:gd name="T17" fmla="*/ 8 h 48"/>
                  <a:gd name="T18" fmla="*/ 86 w 169"/>
                  <a:gd name="T19" fmla="*/ 48 h 48"/>
                  <a:gd name="T20" fmla="*/ 84 w 169"/>
                  <a:gd name="T21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9" h="48">
                    <a:moveTo>
                      <a:pt x="84" y="48"/>
                    </a:moveTo>
                    <a:cubicBezTo>
                      <a:pt x="84" y="48"/>
                      <a:pt x="83" y="48"/>
                      <a:pt x="83" y="4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84" y="40"/>
                      <a:pt x="84" y="40"/>
                      <a:pt x="84" y="40"/>
                    </a:cubicBezTo>
                    <a:cubicBezTo>
                      <a:pt x="163" y="1"/>
                      <a:pt x="163" y="1"/>
                      <a:pt x="163" y="1"/>
                    </a:cubicBezTo>
                    <a:cubicBezTo>
                      <a:pt x="165" y="0"/>
                      <a:pt x="167" y="1"/>
                      <a:pt x="168" y="3"/>
                    </a:cubicBezTo>
                    <a:cubicBezTo>
                      <a:pt x="169" y="5"/>
                      <a:pt x="168" y="7"/>
                      <a:pt x="166" y="8"/>
                    </a:cubicBezTo>
                    <a:cubicBezTo>
                      <a:pt x="86" y="48"/>
                      <a:pt x="86" y="48"/>
                      <a:pt x="86" y="48"/>
                    </a:cubicBezTo>
                    <a:cubicBezTo>
                      <a:pt x="86" y="48"/>
                      <a:pt x="85" y="48"/>
                      <a:pt x="84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" name="Freeform 303">
                <a:extLst>
                  <a:ext uri="{FF2B5EF4-FFF2-40B4-BE49-F238E27FC236}">
                    <a16:creationId xmlns:a16="http://schemas.microsoft.com/office/drawing/2014/main" id="{C8CED871-02B0-41EC-F927-6218D143B90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83426" y="101601"/>
                <a:ext cx="12700" cy="254000"/>
              </a:xfrm>
              <a:custGeom>
                <a:avLst/>
                <a:gdLst>
                  <a:gd name="T0" fmla="*/ 4 w 8"/>
                  <a:gd name="T1" fmla="*/ 168 h 168"/>
                  <a:gd name="T2" fmla="*/ 0 w 8"/>
                  <a:gd name="T3" fmla="*/ 164 h 168"/>
                  <a:gd name="T4" fmla="*/ 0 w 8"/>
                  <a:gd name="T5" fmla="*/ 4 h 168"/>
                  <a:gd name="T6" fmla="*/ 4 w 8"/>
                  <a:gd name="T7" fmla="*/ 0 h 168"/>
                  <a:gd name="T8" fmla="*/ 8 w 8"/>
                  <a:gd name="T9" fmla="*/ 4 h 168"/>
                  <a:gd name="T10" fmla="*/ 8 w 8"/>
                  <a:gd name="T11" fmla="*/ 164 h 168"/>
                  <a:gd name="T12" fmla="*/ 4 w 8"/>
                  <a:gd name="T13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168">
                    <a:moveTo>
                      <a:pt x="4" y="168"/>
                    </a:moveTo>
                    <a:cubicBezTo>
                      <a:pt x="2" y="168"/>
                      <a:pt x="0" y="167"/>
                      <a:pt x="0" y="16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8" y="164"/>
                      <a:pt x="8" y="164"/>
                      <a:pt x="8" y="164"/>
                    </a:cubicBezTo>
                    <a:cubicBezTo>
                      <a:pt x="8" y="167"/>
                      <a:pt x="7" y="168"/>
                      <a:pt x="4" y="1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7" name="Gruppieren 48">
              <a:extLst>
                <a:ext uri="{FF2B5EF4-FFF2-40B4-BE49-F238E27FC236}">
                  <a16:creationId xmlns:a16="http://schemas.microsoft.com/office/drawing/2014/main" id="{3A5B7ADE-B3B6-AEAB-3FBA-DE58662C6C42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648662" y="5125883"/>
              <a:ext cx="261938" cy="282482"/>
              <a:chOff x="6927851" y="6351"/>
              <a:chExt cx="323850" cy="349250"/>
            </a:xfrm>
            <a:grpFill/>
          </p:grpSpPr>
          <p:sp>
            <p:nvSpPr>
              <p:cNvPr id="48" name="Freeform 301">
                <a:extLst>
                  <a:ext uri="{FF2B5EF4-FFF2-40B4-BE49-F238E27FC236}">
                    <a16:creationId xmlns:a16="http://schemas.microsoft.com/office/drawing/2014/main" id="{15113B65-8FBA-45FF-93BF-EA8E07BB9FC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27851" y="30163"/>
                <a:ext cx="323850" cy="325438"/>
              </a:xfrm>
              <a:custGeom>
                <a:avLst/>
                <a:gdLst>
                  <a:gd name="T0" fmla="*/ 108 w 216"/>
                  <a:gd name="T1" fmla="*/ 216 h 216"/>
                  <a:gd name="T2" fmla="*/ 107 w 216"/>
                  <a:gd name="T3" fmla="*/ 216 h 216"/>
                  <a:gd name="T4" fmla="*/ 3 w 216"/>
                  <a:gd name="T5" fmla="*/ 164 h 216"/>
                  <a:gd name="T6" fmla="*/ 0 w 216"/>
                  <a:gd name="T7" fmla="*/ 160 h 216"/>
                  <a:gd name="T8" fmla="*/ 0 w 216"/>
                  <a:gd name="T9" fmla="*/ 4 h 216"/>
                  <a:gd name="T10" fmla="*/ 2 w 216"/>
                  <a:gd name="T11" fmla="*/ 1 h 216"/>
                  <a:gd name="T12" fmla="*/ 6 w 216"/>
                  <a:gd name="T13" fmla="*/ 1 h 216"/>
                  <a:gd name="T14" fmla="*/ 108 w 216"/>
                  <a:gd name="T15" fmla="*/ 48 h 216"/>
                  <a:gd name="T16" fmla="*/ 211 w 216"/>
                  <a:gd name="T17" fmla="*/ 1 h 216"/>
                  <a:gd name="T18" fmla="*/ 214 w 216"/>
                  <a:gd name="T19" fmla="*/ 1 h 216"/>
                  <a:gd name="T20" fmla="*/ 216 w 216"/>
                  <a:gd name="T21" fmla="*/ 4 h 216"/>
                  <a:gd name="T22" fmla="*/ 216 w 216"/>
                  <a:gd name="T23" fmla="*/ 160 h 216"/>
                  <a:gd name="T24" fmla="*/ 214 w 216"/>
                  <a:gd name="T25" fmla="*/ 164 h 216"/>
                  <a:gd name="T26" fmla="*/ 110 w 216"/>
                  <a:gd name="T27" fmla="*/ 216 h 216"/>
                  <a:gd name="T28" fmla="*/ 108 w 216"/>
                  <a:gd name="T29" fmla="*/ 216 h 216"/>
                  <a:gd name="T30" fmla="*/ 8 w 216"/>
                  <a:gd name="T31" fmla="*/ 158 h 216"/>
                  <a:gd name="T32" fmla="*/ 108 w 216"/>
                  <a:gd name="T33" fmla="*/ 208 h 216"/>
                  <a:gd name="T34" fmla="*/ 208 w 216"/>
                  <a:gd name="T35" fmla="*/ 158 h 216"/>
                  <a:gd name="T36" fmla="*/ 208 w 216"/>
                  <a:gd name="T37" fmla="*/ 11 h 216"/>
                  <a:gd name="T38" fmla="*/ 110 w 216"/>
                  <a:gd name="T39" fmla="*/ 56 h 216"/>
                  <a:gd name="T40" fmla="*/ 107 w 216"/>
                  <a:gd name="T41" fmla="*/ 56 h 216"/>
                  <a:gd name="T42" fmla="*/ 8 w 216"/>
                  <a:gd name="T43" fmla="*/ 11 h 216"/>
                  <a:gd name="T44" fmla="*/ 8 w 216"/>
                  <a:gd name="T45" fmla="*/ 158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16" h="216">
                    <a:moveTo>
                      <a:pt x="108" y="216"/>
                    </a:moveTo>
                    <a:cubicBezTo>
                      <a:pt x="108" y="216"/>
                      <a:pt x="107" y="216"/>
                      <a:pt x="107" y="216"/>
                    </a:cubicBezTo>
                    <a:cubicBezTo>
                      <a:pt x="3" y="164"/>
                      <a:pt x="3" y="164"/>
                      <a:pt x="3" y="164"/>
                    </a:cubicBezTo>
                    <a:cubicBezTo>
                      <a:pt x="1" y="163"/>
                      <a:pt x="0" y="162"/>
                      <a:pt x="0" y="16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1" y="2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108" y="48"/>
                      <a:pt x="108" y="48"/>
                      <a:pt x="108" y="48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2" y="0"/>
                      <a:pt x="213" y="0"/>
                      <a:pt x="214" y="1"/>
                    </a:cubicBezTo>
                    <a:cubicBezTo>
                      <a:pt x="216" y="2"/>
                      <a:pt x="216" y="3"/>
                      <a:pt x="216" y="4"/>
                    </a:cubicBezTo>
                    <a:cubicBezTo>
                      <a:pt x="216" y="160"/>
                      <a:pt x="216" y="160"/>
                      <a:pt x="216" y="160"/>
                    </a:cubicBezTo>
                    <a:cubicBezTo>
                      <a:pt x="216" y="162"/>
                      <a:pt x="215" y="163"/>
                      <a:pt x="214" y="164"/>
                    </a:cubicBezTo>
                    <a:cubicBezTo>
                      <a:pt x="110" y="216"/>
                      <a:pt x="110" y="216"/>
                      <a:pt x="110" y="216"/>
                    </a:cubicBezTo>
                    <a:cubicBezTo>
                      <a:pt x="110" y="216"/>
                      <a:pt x="109" y="216"/>
                      <a:pt x="108" y="216"/>
                    </a:cubicBezTo>
                    <a:close/>
                    <a:moveTo>
                      <a:pt x="8" y="158"/>
                    </a:moveTo>
                    <a:cubicBezTo>
                      <a:pt x="108" y="208"/>
                      <a:pt x="108" y="208"/>
                      <a:pt x="108" y="208"/>
                    </a:cubicBezTo>
                    <a:cubicBezTo>
                      <a:pt x="208" y="158"/>
                      <a:pt x="208" y="158"/>
                      <a:pt x="208" y="158"/>
                    </a:cubicBezTo>
                    <a:cubicBezTo>
                      <a:pt x="208" y="11"/>
                      <a:pt x="208" y="11"/>
                      <a:pt x="208" y="11"/>
                    </a:cubicBezTo>
                    <a:cubicBezTo>
                      <a:pt x="110" y="56"/>
                      <a:pt x="110" y="56"/>
                      <a:pt x="110" y="56"/>
                    </a:cubicBezTo>
                    <a:cubicBezTo>
                      <a:pt x="109" y="56"/>
                      <a:pt x="108" y="56"/>
                      <a:pt x="107" y="56"/>
                    </a:cubicBezTo>
                    <a:cubicBezTo>
                      <a:pt x="8" y="11"/>
                      <a:pt x="8" y="11"/>
                      <a:pt x="8" y="11"/>
                    </a:cubicBezTo>
                    <a:lnTo>
                      <a:pt x="8" y="15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" name="Freeform 302">
                <a:extLst>
                  <a:ext uri="{FF2B5EF4-FFF2-40B4-BE49-F238E27FC236}">
                    <a16:creationId xmlns:a16="http://schemas.microsoft.com/office/drawing/2014/main" id="{B5465D24-EADB-D0E2-270D-6E9AF97FB0E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64364" y="6351"/>
                <a:ext cx="254000" cy="71438"/>
              </a:xfrm>
              <a:custGeom>
                <a:avLst/>
                <a:gdLst>
                  <a:gd name="T0" fmla="*/ 84 w 169"/>
                  <a:gd name="T1" fmla="*/ 48 h 48"/>
                  <a:gd name="T2" fmla="*/ 83 w 169"/>
                  <a:gd name="T3" fmla="*/ 48 h 48"/>
                  <a:gd name="T4" fmla="*/ 3 w 169"/>
                  <a:gd name="T5" fmla="*/ 8 h 48"/>
                  <a:gd name="T6" fmla="*/ 1 w 169"/>
                  <a:gd name="T7" fmla="*/ 3 h 48"/>
                  <a:gd name="T8" fmla="*/ 6 w 169"/>
                  <a:gd name="T9" fmla="*/ 1 h 48"/>
                  <a:gd name="T10" fmla="*/ 84 w 169"/>
                  <a:gd name="T11" fmla="*/ 40 h 48"/>
                  <a:gd name="T12" fmla="*/ 163 w 169"/>
                  <a:gd name="T13" fmla="*/ 1 h 48"/>
                  <a:gd name="T14" fmla="*/ 168 w 169"/>
                  <a:gd name="T15" fmla="*/ 3 h 48"/>
                  <a:gd name="T16" fmla="*/ 166 w 169"/>
                  <a:gd name="T17" fmla="*/ 8 h 48"/>
                  <a:gd name="T18" fmla="*/ 86 w 169"/>
                  <a:gd name="T19" fmla="*/ 48 h 48"/>
                  <a:gd name="T20" fmla="*/ 84 w 169"/>
                  <a:gd name="T21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9" h="48">
                    <a:moveTo>
                      <a:pt x="84" y="48"/>
                    </a:moveTo>
                    <a:cubicBezTo>
                      <a:pt x="84" y="48"/>
                      <a:pt x="83" y="48"/>
                      <a:pt x="83" y="4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7"/>
                      <a:pt x="0" y="5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84" y="40"/>
                      <a:pt x="84" y="40"/>
                      <a:pt x="84" y="40"/>
                    </a:cubicBezTo>
                    <a:cubicBezTo>
                      <a:pt x="163" y="1"/>
                      <a:pt x="163" y="1"/>
                      <a:pt x="163" y="1"/>
                    </a:cubicBezTo>
                    <a:cubicBezTo>
                      <a:pt x="165" y="0"/>
                      <a:pt x="167" y="1"/>
                      <a:pt x="168" y="3"/>
                    </a:cubicBezTo>
                    <a:cubicBezTo>
                      <a:pt x="169" y="5"/>
                      <a:pt x="168" y="7"/>
                      <a:pt x="166" y="8"/>
                    </a:cubicBezTo>
                    <a:cubicBezTo>
                      <a:pt x="86" y="48"/>
                      <a:pt x="86" y="48"/>
                      <a:pt x="86" y="48"/>
                    </a:cubicBezTo>
                    <a:cubicBezTo>
                      <a:pt x="86" y="48"/>
                      <a:pt x="85" y="48"/>
                      <a:pt x="84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" name="Freeform 303">
                <a:extLst>
                  <a:ext uri="{FF2B5EF4-FFF2-40B4-BE49-F238E27FC236}">
                    <a16:creationId xmlns:a16="http://schemas.microsoft.com/office/drawing/2014/main" id="{3B002506-57FD-A09B-8A0B-A8FC46311BD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83426" y="101601"/>
                <a:ext cx="12700" cy="254000"/>
              </a:xfrm>
              <a:custGeom>
                <a:avLst/>
                <a:gdLst>
                  <a:gd name="T0" fmla="*/ 4 w 8"/>
                  <a:gd name="T1" fmla="*/ 168 h 168"/>
                  <a:gd name="T2" fmla="*/ 0 w 8"/>
                  <a:gd name="T3" fmla="*/ 164 h 168"/>
                  <a:gd name="T4" fmla="*/ 0 w 8"/>
                  <a:gd name="T5" fmla="*/ 4 h 168"/>
                  <a:gd name="T6" fmla="*/ 4 w 8"/>
                  <a:gd name="T7" fmla="*/ 0 h 168"/>
                  <a:gd name="T8" fmla="*/ 8 w 8"/>
                  <a:gd name="T9" fmla="*/ 4 h 168"/>
                  <a:gd name="T10" fmla="*/ 8 w 8"/>
                  <a:gd name="T11" fmla="*/ 164 h 168"/>
                  <a:gd name="T12" fmla="*/ 4 w 8"/>
                  <a:gd name="T13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168">
                    <a:moveTo>
                      <a:pt x="4" y="168"/>
                    </a:moveTo>
                    <a:cubicBezTo>
                      <a:pt x="2" y="168"/>
                      <a:pt x="0" y="167"/>
                      <a:pt x="0" y="16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8" y="164"/>
                      <a:pt x="8" y="164"/>
                      <a:pt x="8" y="164"/>
                    </a:cubicBezTo>
                    <a:cubicBezTo>
                      <a:pt x="8" y="167"/>
                      <a:pt x="7" y="168"/>
                      <a:pt x="4" y="1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66" name="Gruppieren 67">
            <a:extLst>
              <a:ext uri="{FF2B5EF4-FFF2-40B4-BE49-F238E27FC236}">
                <a16:creationId xmlns:a16="http://schemas.microsoft.com/office/drawing/2014/main" id="{27D44590-E2F7-B4E7-7DE1-90DB9B281FF3}"/>
              </a:ext>
            </a:extLst>
          </p:cNvPr>
          <p:cNvGrpSpPr>
            <a:grpSpLocks/>
          </p:cNvGrpSpPr>
          <p:nvPr/>
        </p:nvGrpSpPr>
        <p:grpSpPr bwMode="gray">
          <a:xfrm>
            <a:off x="7101458" y="2779160"/>
            <a:ext cx="218785" cy="1078966"/>
            <a:chOff x="7048561" y="3160877"/>
            <a:chExt cx="204116" cy="1006626"/>
          </a:xfrm>
          <a:solidFill>
            <a:schemeClr val="accent6"/>
          </a:solidFill>
        </p:grpSpPr>
        <p:grpSp>
          <p:nvGrpSpPr>
            <p:cNvPr id="67" name="Gruppieren 68">
              <a:extLst>
                <a:ext uri="{FF2B5EF4-FFF2-40B4-BE49-F238E27FC236}">
                  <a16:creationId xmlns:a16="http://schemas.microsoft.com/office/drawing/2014/main" id="{B500ED7F-C5BA-64D3-A320-43B64346224C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048561" y="3160877"/>
              <a:ext cx="204116" cy="214859"/>
              <a:chOff x="1897064" y="5099050"/>
              <a:chExt cx="301625" cy="317500"/>
            </a:xfrm>
            <a:grpFill/>
          </p:grpSpPr>
          <p:sp>
            <p:nvSpPr>
              <p:cNvPr id="80" name="Freeform 579">
                <a:extLst>
                  <a:ext uri="{FF2B5EF4-FFF2-40B4-BE49-F238E27FC236}">
                    <a16:creationId xmlns:a16="http://schemas.microsoft.com/office/drawing/2014/main" id="{3B9D6927-E302-7BBF-F32A-41BD57BFC0B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97064" y="5273675"/>
                <a:ext cx="301625" cy="142875"/>
              </a:xfrm>
              <a:custGeom>
                <a:avLst/>
                <a:gdLst>
                  <a:gd name="T0" fmla="*/ 200 w 200"/>
                  <a:gd name="T1" fmla="*/ 95 h 95"/>
                  <a:gd name="T2" fmla="*/ 0 w 200"/>
                  <a:gd name="T3" fmla="*/ 95 h 95"/>
                  <a:gd name="T4" fmla="*/ 0 w 200"/>
                  <a:gd name="T5" fmla="*/ 75 h 95"/>
                  <a:gd name="T6" fmla="*/ 23 w 200"/>
                  <a:gd name="T7" fmla="*/ 42 h 95"/>
                  <a:gd name="T8" fmla="*/ 72 w 200"/>
                  <a:gd name="T9" fmla="*/ 24 h 95"/>
                  <a:gd name="T10" fmla="*/ 72 w 200"/>
                  <a:gd name="T11" fmla="*/ 2 h 95"/>
                  <a:gd name="T12" fmla="*/ 80 w 200"/>
                  <a:gd name="T13" fmla="*/ 2 h 95"/>
                  <a:gd name="T14" fmla="*/ 80 w 200"/>
                  <a:gd name="T15" fmla="*/ 30 h 95"/>
                  <a:gd name="T16" fmla="*/ 26 w 200"/>
                  <a:gd name="T17" fmla="*/ 50 h 95"/>
                  <a:gd name="T18" fmla="*/ 8 w 200"/>
                  <a:gd name="T19" fmla="*/ 75 h 95"/>
                  <a:gd name="T20" fmla="*/ 8 w 200"/>
                  <a:gd name="T21" fmla="*/ 87 h 95"/>
                  <a:gd name="T22" fmla="*/ 192 w 200"/>
                  <a:gd name="T23" fmla="*/ 87 h 95"/>
                  <a:gd name="T24" fmla="*/ 192 w 200"/>
                  <a:gd name="T25" fmla="*/ 75 h 95"/>
                  <a:gd name="T26" fmla="*/ 174 w 200"/>
                  <a:gd name="T27" fmla="*/ 50 h 95"/>
                  <a:gd name="T28" fmla="*/ 120 w 200"/>
                  <a:gd name="T29" fmla="*/ 30 h 95"/>
                  <a:gd name="T30" fmla="*/ 120 w 200"/>
                  <a:gd name="T31" fmla="*/ 0 h 95"/>
                  <a:gd name="T32" fmla="*/ 128 w 200"/>
                  <a:gd name="T33" fmla="*/ 0 h 95"/>
                  <a:gd name="T34" fmla="*/ 128 w 200"/>
                  <a:gd name="T35" fmla="*/ 24 h 95"/>
                  <a:gd name="T36" fmla="*/ 177 w 200"/>
                  <a:gd name="T37" fmla="*/ 42 h 95"/>
                  <a:gd name="T38" fmla="*/ 200 w 200"/>
                  <a:gd name="T39" fmla="*/ 75 h 95"/>
                  <a:gd name="T40" fmla="*/ 200 w 200"/>
                  <a:gd name="T41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0" h="95">
                    <a:moveTo>
                      <a:pt x="200" y="95"/>
                    </a:moveTo>
                    <a:cubicBezTo>
                      <a:pt x="0" y="95"/>
                      <a:pt x="0" y="95"/>
                      <a:pt x="0" y="9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60"/>
                      <a:pt x="9" y="47"/>
                      <a:pt x="23" y="42"/>
                    </a:cubicBezTo>
                    <a:cubicBezTo>
                      <a:pt x="72" y="24"/>
                      <a:pt x="72" y="24"/>
                      <a:pt x="72" y="24"/>
                    </a:cubicBezTo>
                    <a:cubicBezTo>
                      <a:pt x="72" y="2"/>
                      <a:pt x="72" y="2"/>
                      <a:pt x="72" y="2"/>
                    </a:cubicBezTo>
                    <a:cubicBezTo>
                      <a:pt x="80" y="2"/>
                      <a:pt x="80" y="2"/>
                      <a:pt x="80" y="2"/>
                    </a:cubicBezTo>
                    <a:cubicBezTo>
                      <a:pt x="80" y="30"/>
                      <a:pt x="80" y="30"/>
                      <a:pt x="80" y="30"/>
                    </a:cubicBezTo>
                    <a:cubicBezTo>
                      <a:pt x="26" y="50"/>
                      <a:pt x="26" y="50"/>
                      <a:pt x="26" y="50"/>
                    </a:cubicBezTo>
                    <a:cubicBezTo>
                      <a:pt x="15" y="54"/>
                      <a:pt x="8" y="64"/>
                      <a:pt x="8" y="75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192" y="87"/>
                      <a:pt x="192" y="87"/>
                      <a:pt x="192" y="87"/>
                    </a:cubicBezTo>
                    <a:cubicBezTo>
                      <a:pt x="192" y="75"/>
                      <a:pt x="192" y="75"/>
                      <a:pt x="192" y="75"/>
                    </a:cubicBezTo>
                    <a:cubicBezTo>
                      <a:pt x="192" y="64"/>
                      <a:pt x="185" y="54"/>
                      <a:pt x="174" y="50"/>
                    </a:cubicBezTo>
                    <a:cubicBezTo>
                      <a:pt x="120" y="30"/>
                      <a:pt x="120" y="30"/>
                      <a:pt x="120" y="3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28" y="24"/>
                      <a:pt x="128" y="24"/>
                      <a:pt x="128" y="24"/>
                    </a:cubicBezTo>
                    <a:cubicBezTo>
                      <a:pt x="177" y="42"/>
                      <a:pt x="177" y="42"/>
                      <a:pt x="177" y="42"/>
                    </a:cubicBezTo>
                    <a:cubicBezTo>
                      <a:pt x="191" y="47"/>
                      <a:pt x="200" y="60"/>
                      <a:pt x="200" y="75"/>
                    </a:cubicBezTo>
                    <a:lnTo>
                      <a:pt x="20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" name="Freeform 580">
                <a:extLst>
                  <a:ext uri="{FF2B5EF4-FFF2-40B4-BE49-F238E27FC236}">
                    <a16:creationId xmlns:a16="http://schemas.microsoft.com/office/drawing/2014/main" id="{234DF53A-B1FC-05CF-EDCA-2591EE2832E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63739" y="5099050"/>
                <a:ext cx="163513" cy="193675"/>
              </a:xfrm>
              <a:custGeom>
                <a:avLst/>
                <a:gdLst>
                  <a:gd name="T0" fmla="*/ 55 w 109"/>
                  <a:gd name="T1" fmla="*/ 129 h 129"/>
                  <a:gd name="T2" fmla="*/ 0 w 109"/>
                  <a:gd name="T3" fmla="*/ 64 h 129"/>
                  <a:gd name="T4" fmla="*/ 55 w 109"/>
                  <a:gd name="T5" fmla="*/ 0 h 129"/>
                  <a:gd name="T6" fmla="*/ 109 w 109"/>
                  <a:gd name="T7" fmla="*/ 64 h 129"/>
                  <a:gd name="T8" fmla="*/ 55 w 109"/>
                  <a:gd name="T9" fmla="*/ 129 h 129"/>
                  <a:gd name="T10" fmla="*/ 55 w 109"/>
                  <a:gd name="T11" fmla="*/ 8 h 129"/>
                  <a:gd name="T12" fmla="*/ 8 w 109"/>
                  <a:gd name="T13" fmla="*/ 64 h 129"/>
                  <a:gd name="T14" fmla="*/ 55 w 109"/>
                  <a:gd name="T15" fmla="*/ 121 h 129"/>
                  <a:gd name="T16" fmla="*/ 101 w 109"/>
                  <a:gd name="T17" fmla="*/ 64 h 129"/>
                  <a:gd name="T18" fmla="*/ 55 w 109"/>
                  <a:gd name="T19" fmla="*/ 8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129">
                    <a:moveTo>
                      <a:pt x="55" y="129"/>
                    </a:moveTo>
                    <a:cubicBezTo>
                      <a:pt x="25" y="129"/>
                      <a:pt x="0" y="100"/>
                      <a:pt x="0" y="64"/>
                    </a:cubicBezTo>
                    <a:cubicBezTo>
                      <a:pt x="0" y="29"/>
                      <a:pt x="25" y="0"/>
                      <a:pt x="55" y="0"/>
                    </a:cubicBezTo>
                    <a:cubicBezTo>
                      <a:pt x="85" y="0"/>
                      <a:pt x="109" y="29"/>
                      <a:pt x="109" y="64"/>
                    </a:cubicBezTo>
                    <a:cubicBezTo>
                      <a:pt x="109" y="100"/>
                      <a:pt x="85" y="129"/>
                      <a:pt x="55" y="129"/>
                    </a:cubicBezTo>
                    <a:close/>
                    <a:moveTo>
                      <a:pt x="55" y="8"/>
                    </a:moveTo>
                    <a:cubicBezTo>
                      <a:pt x="29" y="8"/>
                      <a:pt x="8" y="33"/>
                      <a:pt x="8" y="64"/>
                    </a:cubicBezTo>
                    <a:cubicBezTo>
                      <a:pt x="8" y="96"/>
                      <a:pt x="29" y="121"/>
                      <a:pt x="55" y="121"/>
                    </a:cubicBezTo>
                    <a:cubicBezTo>
                      <a:pt x="80" y="121"/>
                      <a:pt x="101" y="96"/>
                      <a:pt x="101" y="64"/>
                    </a:cubicBezTo>
                    <a:cubicBezTo>
                      <a:pt x="101" y="33"/>
                      <a:pt x="80" y="8"/>
                      <a:pt x="55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" name="Freeform 581">
                <a:extLst>
                  <a:ext uri="{FF2B5EF4-FFF2-40B4-BE49-F238E27FC236}">
                    <a16:creationId xmlns:a16="http://schemas.microsoft.com/office/drawing/2014/main" id="{2CE030A6-23F2-5076-FC3E-B5A7EE6D2F7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68501" y="5145088"/>
                <a:ext cx="153988" cy="49213"/>
              </a:xfrm>
              <a:custGeom>
                <a:avLst/>
                <a:gdLst>
                  <a:gd name="T0" fmla="*/ 89 w 102"/>
                  <a:gd name="T1" fmla="*/ 33 h 33"/>
                  <a:gd name="T2" fmla="*/ 59 w 102"/>
                  <a:gd name="T3" fmla="*/ 16 h 33"/>
                  <a:gd name="T4" fmla="*/ 21 w 102"/>
                  <a:gd name="T5" fmla="*/ 32 h 33"/>
                  <a:gd name="T6" fmla="*/ 0 w 102"/>
                  <a:gd name="T7" fmla="*/ 27 h 33"/>
                  <a:gd name="T8" fmla="*/ 4 w 102"/>
                  <a:gd name="T9" fmla="*/ 20 h 33"/>
                  <a:gd name="T10" fmla="*/ 21 w 102"/>
                  <a:gd name="T11" fmla="*/ 24 h 33"/>
                  <a:gd name="T12" fmla="*/ 56 w 102"/>
                  <a:gd name="T13" fmla="*/ 7 h 33"/>
                  <a:gd name="T14" fmla="*/ 59 w 102"/>
                  <a:gd name="T15" fmla="*/ 0 h 33"/>
                  <a:gd name="T16" fmla="*/ 63 w 102"/>
                  <a:gd name="T17" fmla="*/ 7 h 33"/>
                  <a:gd name="T18" fmla="*/ 96 w 102"/>
                  <a:gd name="T19" fmla="*/ 24 h 33"/>
                  <a:gd name="T20" fmla="*/ 100 w 102"/>
                  <a:gd name="T21" fmla="*/ 24 h 33"/>
                  <a:gd name="T22" fmla="*/ 101 w 102"/>
                  <a:gd name="T23" fmla="*/ 24 h 33"/>
                  <a:gd name="T24" fmla="*/ 102 w 102"/>
                  <a:gd name="T25" fmla="*/ 32 h 33"/>
                  <a:gd name="T26" fmla="*/ 100 w 102"/>
                  <a:gd name="T27" fmla="*/ 32 h 33"/>
                  <a:gd name="T28" fmla="*/ 98 w 102"/>
                  <a:gd name="T29" fmla="*/ 32 h 33"/>
                  <a:gd name="T30" fmla="*/ 89 w 102"/>
                  <a:gd name="T31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2" h="33">
                    <a:moveTo>
                      <a:pt x="89" y="33"/>
                    </a:moveTo>
                    <a:cubicBezTo>
                      <a:pt x="77" y="33"/>
                      <a:pt x="67" y="28"/>
                      <a:pt x="59" y="16"/>
                    </a:cubicBezTo>
                    <a:cubicBezTo>
                      <a:pt x="51" y="25"/>
                      <a:pt x="35" y="32"/>
                      <a:pt x="21" y="32"/>
                    </a:cubicBezTo>
                    <a:cubicBezTo>
                      <a:pt x="14" y="32"/>
                      <a:pt x="7" y="31"/>
                      <a:pt x="0" y="27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9" y="23"/>
                      <a:pt x="15" y="24"/>
                      <a:pt x="21" y="24"/>
                    </a:cubicBezTo>
                    <a:cubicBezTo>
                      <a:pt x="35" y="24"/>
                      <a:pt x="51" y="16"/>
                      <a:pt x="56" y="7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72" y="22"/>
                      <a:pt x="81" y="27"/>
                      <a:pt x="96" y="24"/>
                    </a:cubicBezTo>
                    <a:cubicBezTo>
                      <a:pt x="98" y="24"/>
                      <a:pt x="99" y="24"/>
                      <a:pt x="100" y="24"/>
                    </a:cubicBezTo>
                    <a:cubicBezTo>
                      <a:pt x="100" y="24"/>
                      <a:pt x="101" y="24"/>
                      <a:pt x="101" y="24"/>
                    </a:cubicBezTo>
                    <a:cubicBezTo>
                      <a:pt x="102" y="32"/>
                      <a:pt x="102" y="32"/>
                      <a:pt x="102" y="32"/>
                    </a:cubicBezTo>
                    <a:cubicBezTo>
                      <a:pt x="101" y="32"/>
                      <a:pt x="101" y="32"/>
                      <a:pt x="100" y="32"/>
                    </a:cubicBezTo>
                    <a:cubicBezTo>
                      <a:pt x="99" y="32"/>
                      <a:pt x="99" y="32"/>
                      <a:pt x="98" y="32"/>
                    </a:cubicBezTo>
                    <a:cubicBezTo>
                      <a:pt x="95" y="33"/>
                      <a:pt x="92" y="33"/>
                      <a:pt x="89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8" name="Gruppieren 69">
              <a:extLst>
                <a:ext uri="{FF2B5EF4-FFF2-40B4-BE49-F238E27FC236}">
                  <a16:creationId xmlns:a16="http://schemas.microsoft.com/office/drawing/2014/main" id="{55D465FA-7B08-B16E-980E-765EBCC852C6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048561" y="3417896"/>
              <a:ext cx="204116" cy="214859"/>
              <a:chOff x="1897064" y="5099050"/>
              <a:chExt cx="301625" cy="317500"/>
            </a:xfrm>
            <a:grpFill/>
          </p:grpSpPr>
          <p:sp>
            <p:nvSpPr>
              <p:cNvPr id="77" name="Freeform 579">
                <a:extLst>
                  <a:ext uri="{FF2B5EF4-FFF2-40B4-BE49-F238E27FC236}">
                    <a16:creationId xmlns:a16="http://schemas.microsoft.com/office/drawing/2014/main" id="{36358673-3201-65F4-E0F5-72DE0A7402F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97064" y="5273675"/>
                <a:ext cx="301625" cy="142875"/>
              </a:xfrm>
              <a:custGeom>
                <a:avLst/>
                <a:gdLst>
                  <a:gd name="T0" fmla="*/ 200 w 200"/>
                  <a:gd name="T1" fmla="*/ 95 h 95"/>
                  <a:gd name="T2" fmla="*/ 0 w 200"/>
                  <a:gd name="T3" fmla="*/ 95 h 95"/>
                  <a:gd name="T4" fmla="*/ 0 w 200"/>
                  <a:gd name="T5" fmla="*/ 75 h 95"/>
                  <a:gd name="T6" fmla="*/ 23 w 200"/>
                  <a:gd name="T7" fmla="*/ 42 h 95"/>
                  <a:gd name="T8" fmla="*/ 72 w 200"/>
                  <a:gd name="T9" fmla="*/ 24 h 95"/>
                  <a:gd name="T10" fmla="*/ 72 w 200"/>
                  <a:gd name="T11" fmla="*/ 2 h 95"/>
                  <a:gd name="T12" fmla="*/ 80 w 200"/>
                  <a:gd name="T13" fmla="*/ 2 h 95"/>
                  <a:gd name="T14" fmla="*/ 80 w 200"/>
                  <a:gd name="T15" fmla="*/ 30 h 95"/>
                  <a:gd name="T16" fmla="*/ 26 w 200"/>
                  <a:gd name="T17" fmla="*/ 50 h 95"/>
                  <a:gd name="T18" fmla="*/ 8 w 200"/>
                  <a:gd name="T19" fmla="*/ 75 h 95"/>
                  <a:gd name="T20" fmla="*/ 8 w 200"/>
                  <a:gd name="T21" fmla="*/ 87 h 95"/>
                  <a:gd name="T22" fmla="*/ 192 w 200"/>
                  <a:gd name="T23" fmla="*/ 87 h 95"/>
                  <a:gd name="T24" fmla="*/ 192 w 200"/>
                  <a:gd name="T25" fmla="*/ 75 h 95"/>
                  <a:gd name="T26" fmla="*/ 174 w 200"/>
                  <a:gd name="T27" fmla="*/ 50 h 95"/>
                  <a:gd name="T28" fmla="*/ 120 w 200"/>
                  <a:gd name="T29" fmla="*/ 30 h 95"/>
                  <a:gd name="T30" fmla="*/ 120 w 200"/>
                  <a:gd name="T31" fmla="*/ 0 h 95"/>
                  <a:gd name="T32" fmla="*/ 128 w 200"/>
                  <a:gd name="T33" fmla="*/ 0 h 95"/>
                  <a:gd name="T34" fmla="*/ 128 w 200"/>
                  <a:gd name="T35" fmla="*/ 24 h 95"/>
                  <a:gd name="T36" fmla="*/ 177 w 200"/>
                  <a:gd name="T37" fmla="*/ 42 h 95"/>
                  <a:gd name="T38" fmla="*/ 200 w 200"/>
                  <a:gd name="T39" fmla="*/ 75 h 95"/>
                  <a:gd name="T40" fmla="*/ 200 w 200"/>
                  <a:gd name="T41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0" h="95">
                    <a:moveTo>
                      <a:pt x="200" y="95"/>
                    </a:moveTo>
                    <a:cubicBezTo>
                      <a:pt x="0" y="95"/>
                      <a:pt x="0" y="95"/>
                      <a:pt x="0" y="9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60"/>
                      <a:pt x="9" y="47"/>
                      <a:pt x="23" y="42"/>
                    </a:cubicBezTo>
                    <a:cubicBezTo>
                      <a:pt x="72" y="24"/>
                      <a:pt x="72" y="24"/>
                      <a:pt x="72" y="24"/>
                    </a:cubicBezTo>
                    <a:cubicBezTo>
                      <a:pt x="72" y="2"/>
                      <a:pt x="72" y="2"/>
                      <a:pt x="72" y="2"/>
                    </a:cubicBezTo>
                    <a:cubicBezTo>
                      <a:pt x="80" y="2"/>
                      <a:pt x="80" y="2"/>
                      <a:pt x="80" y="2"/>
                    </a:cubicBezTo>
                    <a:cubicBezTo>
                      <a:pt x="80" y="30"/>
                      <a:pt x="80" y="30"/>
                      <a:pt x="80" y="30"/>
                    </a:cubicBezTo>
                    <a:cubicBezTo>
                      <a:pt x="26" y="50"/>
                      <a:pt x="26" y="50"/>
                      <a:pt x="26" y="50"/>
                    </a:cubicBezTo>
                    <a:cubicBezTo>
                      <a:pt x="15" y="54"/>
                      <a:pt x="8" y="64"/>
                      <a:pt x="8" y="75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192" y="87"/>
                      <a:pt x="192" y="87"/>
                      <a:pt x="192" y="87"/>
                    </a:cubicBezTo>
                    <a:cubicBezTo>
                      <a:pt x="192" y="75"/>
                      <a:pt x="192" y="75"/>
                      <a:pt x="192" y="75"/>
                    </a:cubicBezTo>
                    <a:cubicBezTo>
                      <a:pt x="192" y="64"/>
                      <a:pt x="185" y="54"/>
                      <a:pt x="174" y="50"/>
                    </a:cubicBezTo>
                    <a:cubicBezTo>
                      <a:pt x="120" y="30"/>
                      <a:pt x="120" y="30"/>
                      <a:pt x="120" y="3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28" y="24"/>
                      <a:pt x="128" y="24"/>
                      <a:pt x="128" y="24"/>
                    </a:cubicBezTo>
                    <a:cubicBezTo>
                      <a:pt x="177" y="42"/>
                      <a:pt x="177" y="42"/>
                      <a:pt x="177" y="42"/>
                    </a:cubicBezTo>
                    <a:cubicBezTo>
                      <a:pt x="191" y="47"/>
                      <a:pt x="200" y="60"/>
                      <a:pt x="200" y="75"/>
                    </a:cubicBezTo>
                    <a:lnTo>
                      <a:pt x="20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Freeform 580">
                <a:extLst>
                  <a:ext uri="{FF2B5EF4-FFF2-40B4-BE49-F238E27FC236}">
                    <a16:creationId xmlns:a16="http://schemas.microsoft.com/office/drawing/2014/main" id="{A9424010-24A1-6674-364C-0975D79C43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63739" y="5099050"/>
                <a:ext cx="163513" cy="193675"/>
              </a:xfrm>
              <a:custGeom>
                <a:avLst/>
                <a:gdLst>
                  <a:gd name="T0" fmla="*/ 55 w 109"/>
                  <a:gd name="T1" fmla="*/ 129 h 129"/>
                  <a:gd name="T2" fmla="*/ 0 w 109"/>
                  <a:gd name="T3" fmla="*/ 64 h 129"/>
                  <a:gd name="T4" fmla="*/ 55 w 109"/>
                  <a:gd name="T5" fmla="*/ 0 h 129"/>
                  <a:gd name="T6" fmla="*/ 109 w 109"/>
                  <a:gd name="T7" fmla="*/ 64 h 129"/>
                  <a:gd name="T8" fmla="*/ 55 w 109"/>
                  <a:gd name="T9" fmla="*/ 129 h 129"/>
                  <a:gd name="T10" fmla="*/ 55 w 109"/>
                  <a:gd name="T11" fmla="*/ 8 h 129"/>
                  <a:gd name="T12" fmla="*/ 8 w 109"/>
                  <a:gd name="T13" fmla="*/ 64 h 129"/>
                  <a:gd name="T14" fmla="*/ 55 w 109"/>
                  <a:gd name="T15" fmla="*/ 121 h 129"/>
                  <a:gd name="T16" fmla="*/ 101 w 109"/>
                  <a:gd name="T17" fmla="*/ 64 h 129"/>
                  <a:gd name="T18" fmla="*/ 55 w 109"/>
                  <a:gd name="T19" fmla="*/ 8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129">
                    <a:moveTo>
                      <a:pt x="55" y="129"/>
                    </a:moveTo>
                    <a:cubicBezTo>
                      <a:pt x="25" y="129"/>
                      <a:pt x="0" y="100"/>
                      <a:pt x="0" y="64"/>
                    </a:cubicBezTo>
                    <a:cubicBezTo>
                      <a:pt x="0" y="29"/>
                      <a:pt x="25" y="0"/>
                      <a:pt x="55" y="0"/>
                    </a:cubicBezTo>
                    <a:cubicBezTo>
                      <a:pt x="85" y="0"/>
                      <a:pt x="109" y="29"/>
                      <a:pt x="109" y="64"/>
                    </a:cubicBezTo>
                    <a:cubicBezTo>
                      <a:pt x="109" y="100"/>
                      <a:pt x="85" y="129"/>
                      <a:pt x="55" y="129"/>
                    </a:cubicBezTo>
                    <a:close/>
                    <a:moveTo>
                      <a:pt x="55" y="8"/>
                    </a:moveTo>
                    <a:cubicBezTo>
                      <a:pt x="29" y="8"/>
                      <a:pt x="8" y="33"/>
                      <a:pt x="8" y="64"/>
                    </a:cubicBezTo>
                    <a:cubicBezTo>
                      <a:pt x="8" y="96"/>
                      <a:pt x="29" y="121"/>
                      <a:pt x="55" y="121"/>
                    </a:cubicBezTo>
                    <a:cubicBezTo>
                      <a:pt x="80" y="121"/>
                      <a:pt x="101" y="96"/>
                      <a:pt x="101" y="64"/>
                    </a:cubicBezTo>
                    <a:cubicBezTo>
                      <a:pt x="101" y="33"/>
                      <a:pt x="80" y="8"/>
                      <a:pt x="55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Freeform 581">
                <a:extLst>
                  <a:ext uri="{FF2B5EF4-FFF2-40B4-BE49-F238E27FC236}">
                    <a16:creationId xmlns:a16="http://schemas.microsoft.com/office/drawing/2014/main" id="{976A63B8-9FBF-EE5A-A492-FE310A9F75A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68501" y="5145088"/>
                <a:ext cx="153988" cy="49213"/>
              </a:xfrm>
              <a:custGeom>
                <a:avLst/>
                <a:gdLst>
                  <a:gd name="T0" fmla="*/ 89 w 102"/>
                  <a:gd name="T1" fmla="*/ 33 h 33"/>
                  <a:gd name="T2" fmla="*/ 59 w 102"/>
                  <a:gd name="T3" fmla="*/ 16 h 33"/>
                  <a:gd name="T4" fmla="*/ 21 w 102"/>
                  <a:gd name="T5" fmla="*/ 32 h 33"/>
                  <a:gd name="T6" fmla="*/ 0 w 102"/>
                  <a:gd name="T7" fmla="*/ 27 h 33"/>
                  <a:gd name="T8" fmla="*/ 4 w 102"/>
                  <a:gd name="T9" fmla="*/ 20 h 33"/>
                  <a:gd name="T10" fmla="*/ 21 w 102"/>
                  <a:gd name="T11" fmla="*/ 24 h 33"/>
                  <a:gd name="T12" fmla="*/ 56 w 102"/>
                  <a:gd name="T13" fmla="*/ 7 h 33"/>
                  <a:gd name="T14" fmla="*/ 59 w 102"/>
                  <a:gd name="T15" fmla="*/ 0 h 33"/>
                  <a:gd name="T16" fmla="*/ 63 w 102"/>
                  <a:gd name="T17" fmla="*/ 7 h 33"/>
                  <a:gd name="T18" fmla="*/ 96 w 102"/>
                  <a:gd name="T19" fmla="*/ 24 h 33"/>
                  <a:gd name="T20" fmla="*/ 100 w 102"/>
                  <a:gd name="T21" fmla="*/ 24 h 33"/>
                  <a:gd name="T22" fmla="*/ 101 w 102"/>
                  <a:gd name="T23" fmla="*/ 24 h 33"/>
                  <a:gd name="T24" fmla="*/ 102 w 102"/>
                  <a:gd name="T25" fmla="*/ 32 h 33"/>
                  <a:gd name="T26" fmla="*/ 100 w 102"/>
                  <a:gd name="T27" fmla="*/ 32 h 33"/>
                  <a:gd name="T28" fmla="*/ 98 w 102"/>
                  <a:gd name="T29" fmla="*/ 32 h 33"/>
                  <a:gd name="T30" fmla="*/ 89 w 102"/>
                  <a:gd name="T31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2" h="33">
                    <a:moveTo>
                      <a:pt x="89" y="33"/>
                    </a:moveTo>
                    <a:cubicBezTo>
                      <a:pt x="77" y="33"/>
                      <a:pt x="67" y="28"/>
                      <a:pt x="59" y="16"/>
                    </a:cubicBezTo>
                    <a:cubicBezTo>
                      <a:pt x="51" y="25"/>
                      <a:pt x="35" y="32"/>
                      <a:pt x="21" y="32"/>
                    </a:cubicBezTo>
                    <a:cubicBezTo>
                      <a:pt x="14" y="32"/>
                      <a:pt x="7" y="31"/>
                      <a:pt x="0" y="27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9" y="23"/>
                      <a:pt x="15" y="24"/>
                      <a:pt x="21" y="24"/>
                    </a:cubicBezTo>
                    <a:cubicBezTo>
                      <a:pt x="35" y="24"/>
                      <a:pt x="51" y="16"/>
                      <a:pt x="56" y="7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72" y="22"/>
                      <a:pt x="81" y="27"/>
                      <a:pt x="96" y="24"/>
                    </a:cubicBezTo>
                    <a:cubicBezTo>
                      <a:pt x="98" y="24"/>
                      <a:pt x="99" y="24"/>
                      <a:pt x="100" y="24"/>
                    </a:cubicBezTo>
                    <a:cubicBezTo>
                      <a:pt x="100" y="24"/>
                      <a:pt x="101" y="24"/>
                      <a:pt x="101" y="24"/>
                    </a:cubicBezTo>
                    <a:cubicBezTo>
                      <a:pt x="102" y="32"/>
                      <a:pt x="102" y="32"/>
                      <a:pt x="102" y="32"/>
                    </a:cubicBezTo>
                    <a:cubicBezTo>
                      <a:pt x="101" y="32"/>
                      <a:pt x="101" y="32"/>
                      <a:pt x="100" y="32"/>
                    </a:cubicBezTo>
                    <a:cubicBezTo>
                      <a:pt x="99" y="32"/>
                      <a:pt x="99" y="32"/>
                      <a:pt x="98" y="32"/>
                    </a:cubicBezTo>
                    <a:cubicBezTo>
                      <a:pt x="95" y="33"/>
                      <a:pt x="92" y="33"/>
                      <a:pt x="89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9" name="Gruppieren 70">
              <a:extLst>
                <a:ext uri="{FF2B5EF4-FFF2-40B4-BE49-F238E27FC236}">
                  <a16:creationId xmlns:a16="http://schemas.microsoft.com/office/drawing/2014/main" id="{A34AEC2E-6B41-B409-4404-FCCD00712A45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048561" y="3668770"/>
              <a:ext cx="204116" cy="214859"/>
              <a:chOff x="1897064" y="5099050"/>
              <a:chExt cx="301625" cy="317500"/>
            </a:xfrm>
            <a:grpFill/>
          </p:grpSpPr>
          <p:sp>
            <p:nvSpPr>
              <p:cNvPr id="74" name="Freeform 579">
                <a:extLst>
                  <a:ext uri="{FF2B5EF4-FFF2-40B4-BE49-F238E27FC236}">
                    <a16:creationId xmlns:a16="http://schemas.microsoft.com/office/drawing/2014/main" id="{590E9B1D-C95F-6550-45EC-4A892975CC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97064" y="5273675"/>
                <a:ext cx="301625" cy="142875"/>
              </a:xfrm>
              <a:custGeom>
                <a:avLst/>
                <a:gdLst>
                  <a:gd name="T0" fmla="*/ 200 w 200"/>
                  <a:gd name="T1" fmla="*/ 95 h 95"/>
                  <a:gd name="T2" fmla="*/ 0 w 200"/>
                  <a:gd name="T3" fmla="*/ 95 h 95"/>
                  <a:gd name="T4" fmla="*/ 0 w 200"/>
                  <a:gd name="T5" fmla="*/ 75 h 95"/>
                  <a:gd name="T6" fmla="*/ 23 w 200"/>
                  <a:gd name="T7" fmla="*/ 42 h 95"/>
                  <a:gd name="T8" fmla="*/ 72 w 200"/>
                  <a:gd name="T9" fmla="*/ 24 h 95"/>
                  <a:gd name="T10" fmla="*/ 72 w 200"/>
                  <a:gd name="T11" fmla="*/ 2 h 95"/>
                  <a:gd name="T12" fmla="*/ 80 w 200"/>
                  <a:gd name="T13" fmla="*/ 2 h 95"/>
                  <a:gd name="T14" fmla="*/ 80 w 200"/>
                  <a:gd name="T15" fmla="*/ 30 h 95"/>
                  <a:gd name="T16" fmla="*/ 26 w 200"/>
                  <a:gd name="T17" fmla="*/ 50 h 95"/>
                  <a:gd name="T18" fmla="*/ 8 w 200"/>
                  <a:gd name="T19" fmla="*/ 75 h 95"/>
                  <a:gd name="T20" fmla="*/ 8 w 200"/>
                  <a:gd name="T21" fmla="*/ 87 h 95"/>
                  <a:gd name="T22" fmla="*/ 192 w 200"/>
                  <a:gd name="T23" fmla="*/ 87 h 95"/>
                  <a:gd name="T24" fmla="*/ 192 w 200"/>
                  <a:gd name="T25" fmla="*/ 75 h 95"/>
                  <a:gd name="T26" fmla="*/ 174 w 200"/>
                  <a:gd name="T27" fmla="*/ 50 h 95"/>
                  <a:gd name="T28" fmla="*/ 120 w 200"/>
                  <a:gd name="T29" fmla="*/ 30 h 95"/>
                  <a:gd name="T30" fmla="*/ 120 w 200"/>
                  <a:gd name="T31" fmla="*/ 0 h 95"/>
                  <a:gd name="T32" fmla="*/ 128 w 200"/>
                  <a:gd name="T33" fmla="*/ 0 h 95"/>
                  <a:gd name="T34" fmla="*/ 128 w 200"/>
                  <a:gd name="T35" fmla="*/ 24 h 95"/>
                  <a:gd name="T36" fmla="*/ 177 w 200"/>
                  <a:gd name="T37" fmla="*/ 42 h 95"/>
                  <a:gd name="T38" fmla="*/ 200 w 200"/>
                  <a:gd name="T39" fmla="*/ 75 h 95"/>
                  <a:gd name="T40" fmla="*/ 200 w 200"/>
                  <a:gd name="T41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0" h="95">
                    <a:moveTo>
                      <a:pt x="200" y="95"/>
                    </a:moveTo>
                    <a:cubicBezTo>
                      <a:pt x="0" y="95"/>
                      <a:pt x="0" y="95"/>
                      <a:pt x="0" y="9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60"/>
                      <a:pt x="9" y="47"/>
                      <a:pt x="23" y="42"/>
                    </a:cubicBezTo>
                    <a:cubicBezTo>
                      <a:pt x="72" y="24"/>
                      <a:pt x="72" y="24"/>
                      <a:pt x="72" y="24"/>
                    </a:cubicBezTo>
                    <a:cubicBezTo>
                      <a:pt x="72" y="2"/>
                      <a:pt x="72" y="2"/>
                      <a:pt x="72" y="2"/>
                    </a:cubicBezTo>
                    <a:cubicBezTo>
                      <a:pt x="80" y="2"/>
                      <a:pt x="80" y="2"/>
                      <a:pt x="80" y="2"/>
                    </a:cubicBezTo>
                    <a:cubicBezTo>
                      <a:pt x="80" y="30"/>
                      <a:pt x="80" y="30"/>
                      <a:pt x="80" y="30"/>
                    </a:cubicBezTo>
                    <a:cubicBezTo>
                      <a:pt x="26" y="50"/>
                      <a:pt x="26" y="50"/>
                      <a:pt x="26" y="50"/>
                    </a:cubicBezTo>
                    <a:cubicBezTo>
                      <a:pt x="15" y="54"/>
                      <a:pt x="8" y="64"/>
                      <a:pt x="8" y="75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192" y="87"/>
                      <a:pt x="192" y="87"/>
                      <a:pt x="192" y="87"/>
                    </a:cubicBezTo>
                    <a:cubicBezTo>
                      <a:pt x="192" y="75"/>
                      <a:pt x="192" y="75"/>
                      <a:pt x="192" y="75"/>
                    </a:cubicBezTo>
                    <a:cubicBezTo>
                      <a:pt x="192" y="64"/>
                      <a:pt x="185" y="54"/>
                      <a:pt x="174" y="50"/>
                    </a:cubicBezTo>
                    <a:cubicBezTo>
                      <a:pt x="120" y="30"/>
                      <a:pt x="120" y="30"/>
                      <a:pt x="120" y="3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28" y="24"/>
                      <a:pt x="128" y="24"/>
                      <a:pt x="128" y="24"/>
                    </a:cubicBezTo>
                    <a:cubicBezTo>
                      <a:pt x="177" y="42"/>
                      <a:pt x="177" y="42"/>
                      <a:pt x="177" y="42"/>
                    </a:cubicBezTo>
                    <a:cubicBezTo>
                      <a:pt x="191" y="47"/>
                      <a:pt x="200" y="60"/>
                      <a:pt x="200" y="75"/>
                    </a:cubicBezTo>
                    <a:lnTo>
                      <a:pt x="20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" name="Freeform 580">
                <a:extLst>
                  <a:ext uri="{FF2B5EF4-FFF2-40B4-BE49-F238E27FC236}">
                    <a16:creationId xmlns:a16="http://schemas.microsoft.com/office/drawing/2014/main" id="{FA9B2733-EB86-957E-163C-09E4A8D6E82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63739" y="5099050"/>
                <a:ext cx="163513" cy="193675"/>
              </a:xfrm>
              <a:custGeom>
                <a:avLst/>
                <a:gdLst>
                  <a:gd name="T0" fmla="*/ 55 w 109"/>
                  <a:gd name="T1" fmla="*/ 129 h 129"/>
                  <a:gd name="T2" fmla="*/ 0 w 109"/>
                  <a:gd name="T3" fmla="*/ 64 h 129"/>
                  <a:gd name="T4" fmla="*/ 55 w 109"/>
                  <a:gd name="T5" fmla="*/ 0 h 129"/>
                  <a:gd name="T6" fmla="*/ 109 w 109"/>
                  <a:gd name="T7" fmla="*/ 64 h 129"/>
                  <a:gd name="T8" fmla="*/ 55 w 109"/>
                  <a:gd name="T9" fmla="*/ 129 h 129"/>
                  <a:gd name="T10" fmla="*/ 55 w 109"/>
                  <a:gd name="T11" fmla="*/ 8 h 129"/>
                  <a:gd name="T12" fmla="*/ 8 w 109"/>
                  <a:gd name="T13" fmla="*/ 64 h 129"/>
                  <a:gd name="T14" fmla="*/ 55 w 109"/>
                  <a:gd name="T15" fmla="*/ 121 h 129"/>
                  <a:gd name="T16" fmla="*/ 101 w 109"/>
                  <a:gd name="T17" fmla="*/ 64 h 129"/>
                  <a:gd name="T18" fmla="*/ 55 w 109"/>
                  <a:gd name="T19" fmla="*/ 8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129">
                    <a:moveTo>
                      <a:pt x="55" y="129"/>
                    </a:moveTo>
                    <a:cubicBezTo>
                      <a:pt x="25" y="129"/>
                      <a:pt x="0" y="100"/>
                      <a:pt x="0" y="64"/>
                    </a:cubicBezTo>
                    <a:cubicBezTo>
                      <a:pt x="0" y="29"/>
                      <a:pt x="25" y="0"/>
                      <a:pt x="55" y="0"/>
                    </a:cubicBezTo>
                    <a:cubicBezTo>
                      <a:pt x="85" y="0"/>
                      <a:pt x="109" y="29"/>
                      <a:pt x="109" y="64"/>
                    </a:cubicBezTo>
                    <a:cubicBezTo>
                      <a:pt x="109" y="100"/>
                      <a:pt x="85" y="129"/>
                      <a:pt x="55" y="129"/>
                    </a:cubicBezTo>
                    <a:close/>
                    <a:moveTo>
                      <a:pt x="55" y="8"/>
                    </a:moveTo>
                    <a:cubicBezTo>
                      <a:pt x="29" y="8"/>
                      <a:pt x="8" y="33"/>
                      <a:pt x="8" y="64"/>
                    </a:cubicBezTo>
                    <a:cubicBezTo>
                      <a:pt x="8" y="96"/>
                      <a:pt x="29" y="121"/>
                      <a:pt x="55" y="121"/>
                    </a:cubicBezTo>
                    <a:cubicBezTo>
                      <a:pt x="80" y="121"/>
                      <a:pt x="101" y="96"/>
                      <a:pt x="101" y="64"/>
                    </a:cubicBezTo>
                    <a:cubicBezTo>
                      <a:pt x="101" y="33"/>
                      <a:pt x="80" y="8"/>
                      <a:pt x="55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" name="Freeform 581">
                <a:extLst>
                  <a:ext uri="{FF2B5EF4-FFF2-40B4-BE49-F238E27FC236}">
                    <a16:creationId xmlns:a16="http://schemas.microsoft.com/office/drawing/2014/main" id="{4658238C-5866-9CCB-6EC8-8102BC949E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68501" y="5145088"/>
                <a:ext cx="153988" cy="49213"/>
              </a:xfrm>
              <a:custGeom>
                <a:avLst/>
                <a:gdLst>
                  <a:gd name="T0" fmla="*/ 89 w 102"/>
                  <a:gd name="T1" fmla="*/ 33 h 33"/>
                  <a:gd name="T2" fmla="*/ 59 w 102"/>
                  <a:gd name="T3" fmla="*/ 16 h 33"/>
                  <a:gd name="T4" fmla="*/ 21 w 102"/>
                  <a:gd name="T5" fmla="*/ 32 h 33"/>
                  <a:gd name="T6" fmla="*/ 0 w 102"/>
                  <a:gd name="T7" fmla="*/ 27 h 33"/>
                  <a:gd name="T8" fmla="*/ 4 w 102"/>
                  <a:gd name="T9" fmla="*/ 20 h 33"/>
                  <a:gd name="T10" fmla="*/ 21 w 102"/>
                  <a:gd name="T11" fmla="*/ 24 h 33"/>
                  <a:gd name="T12" fmla="*/ 56 w 102"/>
                  <a:gd name="T13" fmla="*/ 7 h 33"/>
                  <a:gd name="T14" fmla="*/ 59 w 102"/>
                  <a:gd name="T15" fmla="*/ 0 h 33"/>
                  <a:gd name="T16" fmla="*/ 63 w 102"/>
                  <a:gd name="T17" fmla="*/ 7 h 33"/>
                  <a:gd name="T18" fmla="*/ 96 w 102"/>
                  <a:gd name="T19" fmla="*/ 24 h 33"/>
                  <a:gd name="T20" fmla="*/ 100 w 102"/>
                  <a:gd name="T21" fmla="*/ 24 h 33"/>
                  <a:gd name="T22" fmla="*/ 101 w 102"/>
                  <a:gd name="T23" fmla="*/ 24 h 33"/>
                  <a:gd name="T24" fmla="*/ 102 w 102"/>
                  <a:gd name="T25" fmla="*/ 32 h 33"/>
                  <a:gd name="T26" fmla="*/ 100 w 102"/>
                  <a:gd name="T27" fmla="*/ 32 h 33"/>
                  <a:gd name="T28" fmla="*/ 98 w 102"/>
                  <a:gd name="T29" fmla="*/ 32 h 33"/>
                  <a:gd name="T30" fmla="*/ 89 w 102"/>
                  <a:gd name="T31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2" h="33">
                    <a:moveTo>
                      <a:pt x="89" y="33"/>
                    </a:moveTo>
                    <a:cubicBezTo>
                      <a:pt x="77" y="33"/>
                      <a:pt x="67" y="28"/>
                      <a:pt x="59" y="16"/>
                    </a:cubicBezTo>
                    <a:cubicBezTo>
                      <a:pt x="51" y="25"/>
                      <a:pt x="35" y="32"/>
                      <a:pt x="21" y="32"/>
                    </a:cubicBezTo>
                    <a:cubicBezTo>
                      <a:pt x="14" y="32"/>
                      <a:pt x="7" y="31"/>
                      <a:pt x="0" y="27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9" y="23"/>
                      <a:pt x="15" y="24"/>
                      <a:pt x="21" y="24"/>
                    </a:cubicBezTo>
                    <a:cubicBezTo>
                      <a:pt x="35" y="24"/>
                      <a:pt x="51" y="16"/>
                      <a:pt x="56" y="7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72" y="22"/>
                      <a:pt x="81" y="27"/>
                      <a:pt x="96" y="24"/>
                    </a:cubicBezTo>
                    <a:cubicBezTo>
                      <a:pt x="98" y="24"/>
                      <a:pt x="99" y="24"/>
                      <a:pt x="100" y="24"/>
                    </a:cubicBezTo>
                    <a:cubicBezTo>
                      <a:pt x="100" y="24"/>
                      <a:pt x="101" y="24"/>
                      <a:pt x="101" y="24"/>
                    </a:cubicBezTo>
                    <a:cubicBezTo>
                      <a:pt x="102" y="32"/>
                      <a:pt x="102" y="32"/>
                      <a:pt x="102" y="32"/>
                    </a:cubicBezTo>
                    <a:cubicBezTo>
                      <a:pt x="101" y="32"/>
                      <a:pt x="101" y="32"/>
                      <a:pt x="100" y="32"/>
                    </a:cubicBezTo>
                    <a:cubicBezTo>
                      <a:pt x="99" y="32"/>
                      <a:pt x="99" y="32"/>
                      <a:pt x="98" y="32"/>
                    </a:cubicBezTo>
                    <a:cubicBezTo>
                      <a:pt x="95" y="33"/>
                      <a:pt x="92" y="33"/>
                      <a:pt x="89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70" name="Gruppieren 71">
              <a:extLst>
                <a:ext uri="{FF2B5EF4-FFF2-40B4-BE49-F238E27FC236}">
                  <a16:creationId xmlns:a16="http://schemas.microsoft.com/office/drawing/2014/main" id="{7814A098-5355-8C39-BA9D-35733C165F0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048561" y="3952644"/>
              <a:ext cx="204116" cy="214859"/>
              <a:chOff x="1897064" y="5099050"/>
              <a:chExt cx="301625" cy="317500"/>
            </a:xfrm>
            <a:grpFill/>
          </p:grpSpPr>
          <p:sp>
            <p:nvSpPr>
              <p:cNvPr id="71" name="Freeform 579">
                <a:extLst>
                  <a:ext uri="{FF2B5EF4-FFF2-40B4-BE49-F238E27FC236}">
                    <a16:creationId xmlns:a16="http://schemas.microsoft.com/office/drawing/2014/main" id="{12CFE4A9-ECCE-32DC-8AE6-31C5C732F6F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97064" y="5273675"/>
                <a:ext cx="301625" cy="142875"/>
              </a:xfrm>
              <a:custGeom>
                <a:avLst/>
                <a:gdLst>
                  <a:gd name="T0" fmla="*/ 200 w 200"/>
                  <a:gd name="T1" fmla="*/ 95 h 95"/>
                  <a:gd name="T2" fmla="*/ 0 w 200"/>
                  <a:gd name="T3" fmla="*/ 95 h 95"/>
                  <a:gd name="T4" fmla="*/ 0 w 200"/>
                  <a:gd name="T5" fmla="*/ 75 h 95"/>
                  <a:gd name="T6" fmla="*/ 23 w 200"/>
                  <a:gd name="T7" fmla="*/ 42 h 95"/>
                  <a:gd name="T8" fmla="*/ 72 w 200"/>
                  <a:gd name="T9" fmla="*/ 24 h 95"/>
                  <a:gd name="T10" fmla="*/ 72 w 200"/>
                  <a:gd name="T11" fmla="*/ 2 h 95"/>
                  <a:gd name="T12" fmla="*/ 80 w 200"/>
                  <a:gd name="T13" fmla="*/ 2 h 95"/>
                  <a:gd name="T14" fmla="*/ 80 w 200"/>
                  <a:gd name="T15" fmla="*/ 30 h 95"/>
                  <a:gd name="T16" fmla="*/ 26 w 200"/>
                  <a:gd name="T17" fmla="*/ 50 h 95"/>
                  <a:gd name="T18" fmla="*/ 8 w 200"/>
                  <a:gd name="T19" fmla="*/ 75 h 95"/>
                  <a:gd name="T20" fmla="*/ 8 w 200"/>
                  <a:gd name="T21" fmla="*/ 87 h 95"/>
                  <a:gd name="T22" fmla="*/ 192 w 200"/>
                  <a:gd name="T23" fmla="*/ 87 h 95"/>
                  <a:gd name="T24" fmla="*/ 192 w 200"/>
                  <a:gd name="T25" fmla="*/ 75 h 95"/>
                  <a:gd name="T26" fmla="*/ 174 w 200"/>
                  <a:gd name="T27" fmla="*/ 50 h 95"/>
                  <a:gd name="T28" fmla="*/ 120 w 200"/>
                  <a:gd name="T29" fmla="*/ 30 h 95"/>
                  <a:gd name="T30" fmla="*/ 120 w 200"/>
                  <a:gd name="T31" fmla="*/ 0 h 95"/>
                  <a:gd name="T32" fmla="*/ 128 w 200"/>
                  <a:gd name="T33" fmla="*/ 0 h 95"/>
                  <a:gd name="T34" fmla="*/ 128 w 200"/>
                  <a:gd name="T35" fmla="*/ 24 h 95"/>
                  <a:gd name="T36" fmla="*/ 177 w 200"/>
                  <a:gd name="T37" fmla="*/ 42 h 95"/>
                  <a:gd name="T38" fmla="*/ 200 w 200"/>
                  <a:gd name="T39" fmla="*/ 75 h 95"/>
                  <a:gd name="T40" fmla="*/ 200 w 200"/>
                  <a:gd name="T41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0" h="95">
                    <a:moveTo>
                      <a:pt x="200" y="95"/>
                    </a:moveTo>
                    <a:cubicBezTo>
                      <a:pt x="0" y="95"/>
                      <a:pt x="0" y="95"/>
                      <a:pt x="0" y="9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60"/>
                      <a:pt x="9" y="47"/>
                      <a:pt x="23" y="42"/>
                    </a:cubicBezTo>
                    <a:cubicBezTo>
                      <a:pt x="72" y="24"/>
                      <a:pt x="72" y="24"/>
                      <a:pt x="72" y="24"/>
                    </a:cubicBezTo>
                    <a:cubicBezTo>
                      <a:pt x="72" y="2"/>
                      <a:pt x="72" y="2"/>
                      <a:pt x="72" y="2"/>
                    </a:cubicBezTo>
                    <a:cubicBezTo>
                      <a:pt x="80" y="2"/>
                      <a:pt x="80" y="2"/>
                      <a:pt x="80" y="2"/>
                    </a:cubicBezTo>
                    <a:cubicBezTo>
                      <a:pt x="80" y="30"/>
                      <a:pt x="80" y="30"/>
                      <a:pt x="80" y="30"/>
                    </a:cubicBezTo>
                    <a:cubicBezTo>
                      <a:pt x="26" y="50"/>
                      <a:pt x="26" y="50"/>
                      <a:pt x="26" y="50"/>
                    </a:cubicBezTo>
                    <a:cubicBezTo>
                      <a:pt x="15" y="54"/>
                      <a:pt x="8" y="64"/>
                      <a:pt x="8" y="75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192" y="87"/>
                      <a:pt x="192" y="87"/>
                      <a:pt x="192" y="87"/>
                    </a:cubicBezTo>
                    <a:cubicBezTo>
                      <a:pt x="192" y="75"/>
                      <a:pt x="192" y="75"/>
                      <a:pt x="192" y="75"/>
                    </a:cubicBezTo>
                    <a:cubicBezTo>
                      <a:pt x="192" y="64"/>
                      <a:pt x="185" y="54"/>
                      <a:pt x="174" y="50"/>
                    </a:cubicBezTo>
                    <a:cubicBezTo>
                      <a:pt x="120" y="30"/>
                      <a:pt x="120" y="30"/>
                      <a:pt x="120" y="3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28" y="24"/>
                      <a:pt x="128" y="24"/>
                      <a:pt x="128" y="24"/>
                    </a:cubicBezTo>
                    <a:cubicBezTo>
                      <a:pt x="177" y="42"/>
                      <a:pt x="177" y="42"/>
                      <a:pt x="177" y="42"/>
                    </a:cubicBezTo>
                    <a:cubicBezTo>
                      <a:pt x="191" y="47"/>
                      <a:pt x="200" y="60"/>
                      <a:pt x="200" y="75"/>
                    </a:cubicBezTo>
                    <a:lnTo>
                      <a:pt x="20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" name="Freeform 580">
                <a:extLst>
                  <a:ext uri="{FF2B5EF4-FFF2-40B4-BE49-F238E27FC236}">
                    <a16:creationId xmlns:a16="http://schemas.microsoft.com/office/drawing/2014/main" id="{A0D16D11-C1F2-4967-B359-DB353B562D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63739" y="5099050"/>
                <a:ext cx="163513" cy="193675"/>
              </a:xfrm>
              <a:custGeom>
                <a:avLst/>
                <a:gdLst>
                  <a:gd name="T0" fmla="*/ 55 w 109"/>
                  <a:gd name="T1" fmla="*/ 129 h 129"/>
                  <a:gd name="T2" fmla="*/ 0 w 109"/>
                  <a:gd name="T3" fmla="*/ 64 h 129"/>
                  <a:gd name="T4" fmla="*/ 55 w 109"/>
                  <a:gd name="T5" fmla="*/ 0 h 129"/>
                  <a:gd name="T6" fmla="*/ 109 w 109"/>
                  <a:gd name="T7" fmla="*/ 64 h 129"/>
                  <a:gd name="T8" fmla="*/ 55 w 109"/>
                  <a:gd name="T9" fmla="*/ 129 h 129"/>
                  <a:gd name="T10" fmla="*/ 55 w 109"/>
                  <a:gd name="T11" fmla="*/ 8 h 129"/>
                  <a:gd name="T12" fmla="*/ 8 w 109"/>
                  <a:gd name="T13" fmla="*/ 64 h 129"/>
                  <a:gd name="T14" fmla="*/ 55 w 109"/>
                  <a:gd name="T15" fmla="*/ 121 h 129"/>
                  <a:gd name="T16" fmla="*/ 101 w 109"/>
                  <a:gd name="T17" fmla="*/ 64 h 129"/>
                  <a:gd name="T18" fmla="*/ 55 w 109"/>
                  <a:gd name="T19" fmla="*/ 8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129">
                    <a:moveTo>
                      <a:pt x="55" y="129"/>
                    </a:moveTo>
                    <a:cubicBezTo>
                      <a:pt x="25" y="129"/>
                      <a:pt x="0" y="100"/>
                      <a:pt x="0" y="64"/>
                    </a:cubicBezTo>
                    <a:cubicBezTo>
                      <a:pt x="0" y="29"/>
                      <a:pt x="25" y="0"/>
                      <a:pt x="55" y="0"/>
                    </a:cubicBezTo>
                    <a:cubicBezTo>
                      <a:pt x="85" y="0"/>
                      <a:pt x="109" y="29"/>
                      <a:pt x="109" y="64"/>
                    </a:cubicBezTo>
                    <a:cubicBezTo>
                      <a:pt x="109" y="100"/>
                      <a:pt x="85" y="129"/>
                      <a:pt x="55" y="129"/>
                    </a:cubicBezTo>
                    <a:close/>
                    <a:moveTo>
                      <a:pt x="55" y="8"/>
                    </a:moveTo>
                    <a:cubicBezTo>
                      <a:pt x="29" y="8"/>
                      <a:pt x="8" y="33"/>
                      <a:pt x="8" y="64"/>
                    </a:cubicBezTo>
                    <a:cubicBezTo>
                      <a:pt x="8" y="96"/>
                      <a:pt x="29" y="121"/>
                      <a:pt x="55" y="121"/>
                    </a:cubicBezTo>
                    <a:cubicBezTo>
                      <a:pt x="80" y="121"/>
                      <a:pt x="101" y="96"/>
                      <a:pt x="101" y="64"/>
                    </a:cubicBezTo>
                    <a:cubicBezTo>
                      <a:pt x="101" y="33"/>
                      <a:pt x="80" y="8"/>
                      <a:pt x="55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" name="Freeform 581">
                <a:extLst>
                  <a:ext uri="{FF2B5EF4-FFF2-40B4-BE49-F238E27FC236}">
                    <a16:creationId xmlns:a16="http://schemas.microsoft.com/office/drawing/2014/main" id="{644E2493-D3D2-67F9-39DD-25473AFDF9C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68501" y="5145088"/>
                <a:ext cx="153988" cy="49213"/>
              </a:xfrm>
              <a:custGeom>
                <a:avLst/>
                <a:gdLst>
                  <a:gd name="T0" fmla="*/ 89 w 102"/>
                  <a:gd name="T1" fmla="*/ 33 h 33"/>
                  <a:gd name="T2" fmla="*/ 59 w 102"/>
                  <a:gd name="T3" fmla="*/ 16 h 33"/>
                  <a:gd name="T4" fmla="*/ 21 w 102"/>
                  <a:gd name="T5" fmla="*/ 32 h 33"/>
                  <a:gd name="T6" fmla="*/ 0 w 102"/>
                  <a:gd name="T7" fmla="*/ 27 h 33"/>
                  <a:gd name="T8" fmla="*/ 4 w 102"/>
                  <a:gd name="T9" fmla="*/ 20 h 33"/>
                  <a:gd name="T10" fmla="*/ 21 w 102"/>
                  <a:gd name="T11" fmla="*/ 24 h 33"/>
                  <a:gd name="T12" fmla="*/ 56 w 102"/>
                  <a:gd name="T13" fmla="*/ 7 h 33"/>
                  <a:gd name="T14" fmla="*/ 59 w 102"/>
                  <a:gd name="T15" fmla="*/ 0 h 33"/>
                  <a:gd name="T16" fmla="*/ 63 w 102"/>
                  <a:gd name="T17" fmla="*/ 7 h 33"/>
                  <a:gd name="T18" fmla="*/ 96 w 102"/>
                  <a:gd name="T19" fmla="*/ 24 h 33"/>
                  <a:gd name="T20" fmla="*/ 100 w 102"/>
                  <a:gd name="T21" fmla="*/ 24 h 33"/>
                  <a:gd name="T22" fmla="*/ 101 w 102"/>
                  <a:gd name="T23" fmla="*/ 24 h 33"/>
                  <a:gd name="T24" fmla="*/ 102 w 102"/>
                  <a:gd name="T25" fmla="*/ 32 h 33"/>
                  <a:gd name="T26" fmla="*/ 100 w 102"/>
                  <a:gd name="T27" fmla="*/ 32 h 33"/>
                  <a:gd name="T28" fmla="*/ 98 w 102"/>
                  <a:gd name="T29" fmla="*/ 32 h 33"/>
                  <a:gd name="T30" fmla="*/ 89 w 102"/>
                  <a:gd name="T31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2" h="33">
                    <a:moveTo>
                      <a:pt x="89" y="33"/>
                    </a:moveTo>
                    <a:cubicBezTo>
                      <a:pt x="77" y="33"/>
                      <a:pt x="67" y="28"/>
                      <a:pt x="59" y="16"/>
                    </a:cubicBezTo>
                    <a:cubicBezTo>
                      <a:pt x="51" y="25"/>
                      <a:pt x="35" y="32"/>
                      <a:pt x="21" y="32"/>
                    </a:cubicBezTo>
                    <a:cubicBezTo>
                      <a:pt x="14" y="32"/>
                      <a:pt x="7" y="31"/>
                      <a:pt x="0" y="27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9" y="23"/>
                      <a:pt x="15" y="24"/>
                      <a:pt x="21" y="24"/>
                    </a:cubicBezTo>
                    <a:cubicBezTo>
                      <a:pt x="35" y="24"/>
                      <a:pt x="51" y="16"/>
                      <a:pt x="56" y="7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72" y="22"/>
                      <a:pt x="81" y="27"/>
                      <a:pt x="96" y="24"/>
                    </a:cubicBezTo>
                    <a:cubicBezTo>
                      <a:pt x="98" y="24"/>
                      <a:pt x="99" y="24"/>
                      <a:pt x="100" y="24"/>
                    </a:cubicBezTo>
                    <a:cubicBezTo>
                      <a:pt x="100" y="24"/>
                      <a:pt x="101" y="24"/>
                      <a:pt x="101" y="24"/>
                    </a:cubicBezTo>
                    <a:cubicBezTo>
                      <a:pt x="102" y="32"/>
                      <a:pt x="102" y="32"/>
                      <a:pt x="102" y="32"/>
                    </a:cubicBezTo>
                    <a:cubicBezTo>
                      <a:pt x="101" y="32"/>
                      <a:pt x="101" y="32"/>
                      <a:pt x="100" y="32"/>
                    </a:cubicBezTo>
                    <a:cubicBezTo>
                      <a:pt x="99" y="32"/>
                      <a:pt x="99" y="32"/>
                      <a:pt x="98" y="32"/>
                    </a:cubicBezTo>
                    <a:cubicBezTo>
                      <a:pt x="95" y="33"/>
                      <a:pt x="92" y="33"/>
                      <a:pt x="89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83" name="Gruppieren 84">
            <a:extLst>
              <a:ext uri="{FF2B5EF4-FFF2-40B4-BE49-F238E27FC236}">
                <a16:creationId xmlns:a16="http://schemas.microsoft.com/office/drawing/2014/main" id="{E167EA78-DAE9-2886-CDA0-7F8025D0CED1}"/>
              </a:ext>
            </a:extLst>
          </p:cNvPr>
          <p:cNvGrpSpPr>
            <a:grpSpLocks/>
          </p:cNvGrpSpPr>
          <p:nvPr/>
        </p:nvGrpSpPr>
        <p:grpSpPr bwMode="gray">
          <a:xfrm>
            <a:off x="7368650" y="2779160"/>
            <a:ext cx="218785" cy="1078966"/>
            <a:chOff x="7301379" y="3160877"/>
            <a:chExt cx="204116" cy="1006626"/>
          </a:xfrm>
          <a:solidFill>
            <a:schemeClr val="accent6"/>
          </a:solidFill>
        </p:grpSpPr>
        <p:grpSp>
          <p:nvGrpSpPr>
            <p:cNvPr id="84" name="Gruppieren 85">
              <a:extLst>
                <a:ext uri="{FF2B5EF4-FFF2-40B4-BE49-F238E27FC236}">
                  <a16:creationId xmlns:a16="http://schemas.microsoft.com/office/drawing/2014/main" id="{AD881CC1-89AB-A244-8F55-7EE2AA50874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301379" y="3160877"/>
              <a:ext cx="204116" cy="214859"/>
              <a:chOff x="1897064" y="5099050"/>
              <a:chExt cx="301625" cy="317500"/>
            </a:xfrm>
            <a:grpFill/>
          </p:grpSpPr>
          <p:sp>
            <p:nvSpPr>
              <p:cNvPr id="97" name="Freeform 579">
                <a:extLst>
                  <a:ext uri="{FF2B5EF4-FFF2-40B4-BE49-F238E27FC236}">
                    <a16:creationId xmlns:a16="http://schemas.microsoft.com/office/drawing/2014/main" id="{D17C6BC7-B3AC-8055-D852-DBED45DC763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97064" y="5273675"/>
                <a:ext cx="301625" cy="142875"/>
              </a:xfrm>
              <a:custGeom>
                <a:avLst/>
                <a:gdLst>
                  <a:gd name="T0" fmla="*/ 200 w 200"/>
                  <a:gd name="T1" fmla="*/ 95 h 95"/>
                  <a:gd name="T2" fmla="*/ 0 w 200"/>
                  <a:gd name="T3" fmla="*/ 95 h 95"/>
                  <a:gd name="T4" fmla="*/ 0 w 200"/>
                  <a:gd name="T5" fmla="*/ 75 h 95"/>
                  <a:gd name="T6" fmla="*/ 23 w 200"/>
                  <a:gd name="T7" fmla="*/ 42 h 95"/>
                  <a:gd name="T8" fmla="*/ 72 w 200"/>
                  <a:gd name="T9" fmla="*/ 24 h 95"/>
                  <a:gd name="T10" fmla="*/ 72 w 200"/>
                  <a:gd name="T11" fmla="*/ 2 h 95"/>
                  <a:gd name="T12" fmla="*/ 80 w 200"/>
                  <a:gd name="T13" fmla="*/ 2 h 95"/>
                  <a:gd name="T14" fmla="*/ 80 w 200"/>
                  <a:gd name="T15" fmla="*/ 30 h 95"/>
                  <a:gd name="T16" fmla="*/ 26 w 200"/>
                  <a:gd name="T17" fmla="*/ 50 h 95"/>
                  <a:gd name="T18" fmla="*/ 8 w 200"/>
                  <a:gd name="T19" fmla="*/ 75 h 95"/>
                  <a:gd name="T20" fmla="*/ 8 w 200"/>
                  <a:gd name="T21" fmla="*/ 87 h 95"/>
                  <a:gd name="T22" fmla="*/ 192 w 200"/>
                  <a:gd name="T23" fmla="*/ 87 h 95"/>
                  <a:gd name="T24" fmla="*/ 192 w 200"/>
                  <a:gd name="T25" fmla="*/ 75 h 95"/>
                  <a:gd name="T26" fmla="*/ 174 w 200"/>
                  <a:gd name="T27" fmla="*/ 50 h 95"/>
                  <a:gd name="T28" fmla="*/ 120 w 200"/>
                  <a:gd name="T29" fmla="*/ 30 h 95"/>
                  <a:gd name="T30" fmla="*/ 120 w 200"/>
                  <a:gd name="T31" fmla="*/ 0 h 95"/>
                  <a:gd name="T32" fmla="*/ 128 w 200"/>
                  <a:gd name="T33" fmla="*/ 0 h 95"/>
                  <a:gd name="T34" fmla="*/ 128 w 200"/>
                  <a:gd name="T35" fmla="*/ 24 h 95"/>
                  <a:gd name="T36" fmla="*/ 177 w 200"/>
                  <a:gd name="T37" fmla="*/ 42 h 95"/>
                  <a:gd name="T38" fmla="*/ 200 w 200"/>
                  <a:gd name="T39" fmla="*/ 75 h 95"/>
                  <a:gd name="T40" fmla="*/ 200 w 200"/>
                  <a:gd name="T41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0" h="95">
                    <a:moveTo>
                      <a:pt x="200" y="95"/>
                    </a:moveTo>
                    <a:cubicBezTo>
                      <a:pt x="0" y="95"/>
                      <a:pt x="0" y="95"/>
                      <a:pt x="0" y="9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60"/>
                      <a:pt x="9" y="47"/>
                      <a:pt x="23" y="42"/>
                    </a:cubicBezTo>
                    <a:cubicBezTo>
                      <a:pt x="72" y="24"/>
                      <a:pt x="72" y="24"/>
                      <a:pt x="72" y="24"/>
                    </a:cubicBezTo>
                    <a:cubicBezTo>
                      <a:pt x="72" y="2"/>
                      <a:pt x="72" y="2"/>
                      <a:pt x="72" y="2"/>
                    </a:cubicBezTo>
                    <a:cubicBezTo>
                      <a:pt x="80" y="2"/>
                      <a:pt x="80" y="2"/>
                      <a:pt x="80" y="2"/>
                    </a:cubicBezTo>
                    <a:cubicBezTo>
                      <a:pt x="80" y="30"/>
                      <a:pt x="80" y="30"/>
                      <a:pt x="80" y="30"/>
                    </a:cubicBezTo>
                    <a:cubicBezTo>
                      <a:pt x="26" y="50"/>
                      <a:pt x="26" y="50"/>
                      <a:pt x="26" y="50"/>
                    </a:cubicBezTo>
                    <a:cubicBezTo>
                      <a:pt x="15" y="54"/>
                      <a:pt x="8" y="64"/>
                      <a:pt x="8" y="75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192" y="87"/>
                      <a:pt x="192" y="87"/>
                      <a:pt x="192" y="87"/>
                    </a:cubicBezTo>
                    <a:cubicBezTo>
                      <a:pt x="192" y="75"/>
                      <a:pt x="192" y="75"/>
                      <a:pt x="192" y="75"/>
                    </a:cubicBezTo>
                    <a:cubicBezTo>
                      <a:pt x="192" y="64"/>
                      <a:pt x="185" y="54"/>
                      <a:pt x="174" y="50"/>
                    </a:cubicBezTo>
                    <a:cubicBezTo>
                      <a:pt x="120" y="30"/>
                      <a:pt x="120" y="30"/>
                      <a:pt x="120" y="3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28" y="24"/>
                      <a:pt x="128" y="24"/>
                      <a:pt x="128" y="24"/>
                    </a:cubicBezTo>
                    <a:cubicBezTo>
                      <a:pt x="177" y="42"/>
                      <a:pt x="177" y="42"/>
                      <a:pt x="177" y="42"/>
                    </a:cubicBezTo>
                    <a:cubicBezTo>
                      <a:pt x="191" y="47"/>
                      <a:pt x="200" y="60"/>
                      <a:pt x="200" y="75"/>
                    </a:cubicBezTo>
                    <a:lnTo>
                      <a:pt x="20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" name="Freeform 580">
                <a:extLst>
                  <a:ext uri="{FF2B5EF4-FFF2-40B4-BE49-F238E27FC236}">
                    <a16:creationId xmlns:a16="http://schemas.microsoft.com/office/drawing/2014/main" id="{662F8DA5-2224-BE6D-9828-D032B850341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63739" y="5099050"/>
                <a:ext cx="163513" cy="193675"/>
              </a:xfrm>
              <a:custGeom>
                <a:avLst/>
                <a:gdLst>
                  <a:gd name="T0" fmla="*/ 55 w 109"/>
                  <a:gd name="T1" fmla="*/ 129 h 129"/>
                  <a:gd name="T2" fmla="*/ 0 w 109"/>
                  <a:gd name="T3" fmla="*/ 64 h 129"/>
                  <a:gd name="T4" fmla="*/ 55 w 109"/>
                  <a:gd name="T5" fmla="*/ 0 h 129"/>
                  <a:gd name="T6" fmla="*/ 109 w 109"/>
                  <a:gd name="T7" fmla="*/ 64 h 129"/>
                  <a:gd name="T8" fmla="*/ 55 w 109"/>
                  <a:gd name="T9" fmla="*/ 129 h 129"/>
                  <a:gd name="T10" fmla="*/ 55 w 109"/>
                  <a:gd name="T11" fmla="*/ 8 h 129"/>
                  <a:gd name="T12" fmla="*/ 8 w 109"/>
                  <a:gd name="T13" fmla="*/ 64 h 129"/>
                  <a:gd name="T14" fmla="*/ 55 w 109"/>
                  <a:gd name="T15" fmla="*/ 121 h 129"/>
                  <a:gd name="T16" fmla="*/ 101 w 109"/>
                  <a:gd name="T17" fmla="*/ 64 h 129"/>
                  <a:gd name="T18" fmla="*/ 55 w 109"/>
                  <a:gd name="T19" fmla="*/ 8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129">
                    <a:moveTo>
                      <a:pt x="55" y="129"/>
                    </a:moveTo>
                    <a:cubicBezTo>
                      <a:pt x="25" y="129"/>
                      <a:pt x="0" y="100"/>
                      <a:pt x="0" y="64"/>
                    </a:cubicBezTo>
                    <a:cubicBezTo>
                      <a:pt x="0" y="29"/>
                      <a:pt x="25" y="0"/>
                      <a:pt x="55" y="0"/>
                    </a:cubicBezTo>
                    <a:cubicBezTo>
                      <a:pt x="85" y="0"/>
                      <a:pt x="109" y="29"/>
                      <a:pt x="109" y="64"/>
                    </a:cubicBezTo>
                    <a:cubicBezTo>
                      <a:pt x="109" y="100"/>
                      <a:pt x="85" y="129"/>
                      <a:pt x="55" y="129"/>
                    </a:cubicBezTo>
                    <a:close/>
                    <a:moveTo>
                      <a:pt x="55" y="8"/>
                    </a:moveTo>
                    <a:cubicBezTo>
                      <a:pt x="29" y="8"/>
                      <a:pt x="8" y="33"/>
                      <a:pt x="8" y="64"/>
                    </a:cubicBezTo>
                    <a:cubicBezTo>
                      <a:pt x="8" y="96"/>
                      <a:pt x="29" y="121"/>
                      <a:pt x="55" y="121"/>
                    </a:cubicBezTo>
                    <a:cubicBezTo>
                      <a:pt x="80" y="121"/>
                      <a:pt x="101" y="96"/>
                      <a:pt x="101" y="64"/>
                    </a:cubicBezTo>
                    <a:cubicBezTo>
                      <a:pt x="101" y="33"/>
                      <a:pt x="80" y="8"/>
                      <a:pt x="55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" name="Freeform 581">
                <a:extLst>
                  <a:ext uri="{FF2B5EF4-FFF2-40B4-BE49-F238E27FC236}">
                    <a16:creationId xmlns:a16="http://schemas.microsoft.com/office/drawing/2014/main" id="{AC604DDA-3858-C089-7EC2-A1782BD1844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68501" y="5145088"/>
                <a:ext cx="153988" cy="49213"/>
              </a:xfrm>
              <a:custGeom>
                <a:avLst/>
                <a:gdLst>
                  <a:gd name="T0" fmla="*/ 89 w 102"/>
                  <a:gd name="T1" fmla="*/ 33 h 33"/>
                  <a:gd name="T2" fmla="*/ 59 w 102"/>
                  <a:gd name="T3" fmla="*/ 16 h 33"/>
                  <a:gd name="T4" fmla="*/ 21 w 102"/>
                  <a:gd name="T5" fmla="*/ 32 h 33"/>
                  <a:gd name="T6" fmla="*/ 0 w 102"/>
                  <a:gd name="T7" fmla="*/ 27 h 33"/>
                  <a:gd name="T8" fmla="*/ 4 w 102"/>
                  <a:gd name="T9" fmla="*/ 20 h 33"/>
                  <a:gd name="T10" fmla="*/ 21 w 102"/>
                  <a:gd name="T11" fmla="*/ 24 h 33"/>
                  <a:gd name="T12" fmla="*/ 56 w 102"/>
                  <a:gd name="T13" fmla="*/ 7 h 33"/>
                  <a:gd name="T14" fmla="*/ 59 w 102"/>
                  <a:gd name="T15" fmla="*/ 0 h 33"/>
                  <a:gd name="T16" fmla="*/ 63 w 102"/>
                  <a:gd name="T17" fmla="*/ 7 h 33"/>
                  <a:gd name="T18" fmla="*/ 96 w 102"/>
                  <a:gd name="T19" fmla="*/ 24 h 33"/>
                  <a:gd name="T20" fmla="*/ 100 w 102"/>
                  <a:gd name="T21" fmla="*/ 24 h 33"/>
                  <a:gd name="T22" fmla="*/ 101 w 102"/>
                  <a:gd name="T23" fmla="*/ 24 h 33"/>
                  <a:gd name="T24" fmla="*/ 102 w 102"/>
                  <a:gd name="T25" fmla="*/ 32 h 33"/>
                  <a:gd name="T26" fmla="*/ 100 w 102"/>
                  <a:gd name="T27" fmla="*/ 32 h 33"/>
                  <a:gd name="T28" fmla="*/ 98 w 102"/>
                  <a:gd name="T29" fmla="*/ 32 h 33"/>
                  <a:gd name="T30" fmla="*/ 89 w 102"/>
                  <a:gd name="T31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2" h="33">
                    <a:moveTo>
                      <a:pt x="89" y="33"/>
                    </a:moveTo>
                    <a:cubicBezTo>
                      <a:pt x="77" y="33"/>
                      <a:pt x="67" y="28"/>
                      <a:pt x="59" y="16"/>
                    </a:cubicBezTo>
                    <a:cubicBezTo>
                      <a:pt x="51" y="25"/>
                      <a:pt x="35" y="32"/>
                      <a:pt x="21" y="32"/>
                    </a:cubicBezTo>
                    <a:cubicBezTo>
                      <a:pt x="14" y="32"/>
                      <a:pt x="7" y="31"/>
                      <a:pt x="0" y="27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9" y="23"/>
                      <a:pt x="15" y="24"/>
                      <a:pt x="21" y="24"/>
                    </a:cubicBezTo>
                    <a:cubicBezTo>
                      <a:pt x="35" y="24"/>
                      <a:pt x="51" y="16"/>
                      <a:pt x="56" y="7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72" y="22"/>
                      <a:pt x="81" y="27"/>
                      <a:pt x="96" y="24"/>
                    </a:cubicBezTo>
                    <a:cubicBezTo>
                      <a:pt x="98" y="24"/>
                      <a:pt x="99" y="24"/>
                      <a:pt x="100" y="24"/>
                    </a:cubicBezTo>
                    <a:cubicBezTo>
                      <a:pt x="100" y="24"/>
                      <a:pt x="101" y="24"/>
                      <a:pt x="101" y="24"/>
                    </a:cubicBezTo>
                    <a:cubicBezTo>
                      <a:pt x="102" y="32"/>
                      <a:pt x="102" y="32"/>
                      <a:pt x="102" y="32"/>
                    </a:cubicBezTo>
                    <a:cubicBezTo>
                      <a:pt x="101" y="32"/>
                      <a:pt x="101" y="32"/>
                      <a:pt x="100" y="32"/>
                    </a:cubicBezTo>
                    <a:cubicBezTo>
                      <a:pt x="99" y="32"/>
                      <a:pt x="99" y="32"/>
                      <a:pt x="98" y="32"/>
                    </a:cubicBezTo>
                    <a:cubicBezTo>
                      <a:pt x="95" y="33"/>
                      <a:pt x="92" y="33"/>
                      <a:pt x="89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85" name="Gruppieren 86">
              <a:extLst>
                <a:ext uri="{FF2B5EF4-FFF2-40B4-BE49-F238E27FC236}">
                  <a16:creationId xmlns:a16="http://schemas.microsoft.com/office/drawing/2014/main" id="{9C8D5CCE-80D5-4FA7-0266-E023B08C7CB8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301379" y="3417896"/>
              <a:ext cx="204116" cy="214859"/>
              <a:chOff x="1897064" y="5099050"/>
              <a:chExt cx="301625" cy="317500"/>
            </a:xfrm>
            <a:grpFill/>
          </p:grpSpPr>
          <p:sp>
            <p:nvSpPr>
              <p:cNvPr id="94" name="Freeform 579">
                <a:extLst>
                  <a:ext uri="{FF2B5EF4-FFF2-40B4-BE49-F238E27FC236}">
                    <a16:creationId xmlns:a16="http://schemas.microsoft.com/office/drawing/2014/main" id="{38DAF91E-D2C6-DDBA-FD50-42E02A6D31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97064" y="5273675"/>
                <a:ext cx="301625" cy="142875"/>
              </a:xfrm>
              <a:custGeom>
                <a:avLst/>
                <a:gdLst>
                  <a:gd name="T0" fmla="*/ 200 w 200"/>
                  <a:gd name="T1" fmla="*/ 95 h 95"/>
                  <a:gd name="T2" fmla="*/ 0 w 200"/>
                  <a:gd name="T3" fmla="*/ 95 h 95"/>
                  <a:gd name="T4" fmla="*/ 0 w 200"/>
                  <a:gd name="T5" fmla="*/ 75 h 95"/>
                  <a:gd name="T6" fmla="*/ 23 w 200"/>
                  <a:gd name="T7" fmla="*/ 42 h 95"/>
                  <a:gd name="T8" fmla="*/ 72 w 200"/>
                  <a:gd name="T9" fmla="*/ 24 h 95"/>
                  <a:gd name="T10" fmla="*/ 72 w 200"/>
                  <a:gd name="T11" fmla="*/ 2 h 95"/>
                  <a:gd name="T12" fmla="*/ 80 w 200"/>
                  <a:gd name="T13" fmla="*/ 2 h 95"/>
                  <a:gd name="T14" fmla="*/ 80 w 200"/>
                  <a:gd name="T15" fmla="*/ 30 h 95"/>
                  <a:gd name="T16" fmla="*/ 26 w 200"/>
                  <a:gd name="T17" fmla="*/ 50 h 95"/>
                  <a:gd name="T18" fmla="*/ 8 w 200"/>
                  <a:gd name="T19" fmla="*/ 75 h 95"/>
                  <a:gd name="T20" fmla="*/ 8 w 200"/>
                  <a:gd name="T21" fmla="*/ 87 h 95"/>
                  <a:gd name="T22" fmla="*/ 192 w 200"/>
                  <a:gd name="T23" fmla="*/ 87 h 95"/>
                  <a:gd name="T24" fmla="*/ 192 w 200"/>
                  <a:gd name="T25" fmla="*/ 75 h 95"/>
                  <a:gd name="T26" fmla="*/ 174 w 200"/>
                  <a:gd name="T27" fmla="*/ 50 h 95"/>
                  <a:gd name="T28" fmla="*/ 120 w 200"/>
                  <a:gd name="T29" fmla="*/ 30 h 95"/>
                  <a:gd name="T30" fmla="*/ 120 w 200"/>
                  <a:gd name="T31" fmla="*/ 0 h 95"/>
                  <a:gd name="T32" fmla="*/ 128 w 200"/>
                  <a:gd name="T33" fmla="*/ 0 h 95"/>
                  <a:gd name="T34" fmla="*/ 128 w 200"/>
                  <a:gd name="T35" fmla="*/ 24 h 95"/>
                  <a:gd name="T36" fmla="*/ 177 w 200"/>
                  <a:gd name="T37" fmla="*/ 42 h 95"/>
                  <a:gd name="T38" fmla="*/ 200 w 200"/>
                  <a:gd name="T39" fmla="*/ 75 h 95"/>
                  <a:gd name="T40" fmla="*/ 200 w 200"/>
                  <a:gd name="T41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0" h="95">
                    <a:moveTo>
                      <a:pt x="200" y="95"/>
                    </a:moveTo>
                    <a:cubicBezTo>
                      <a:pt x="0" y="95"/>
                      <a:pt x="0" y="95"/>
                      <a:pt x="0" y="9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60"/>
                      <a:pt x="9" y="47"/>
                      <a:pt x="23" y="42"/>
                    </a:cubicBezTo>
                    <a:cubicBezTo>
                      <a:pt x="72" y="24"/>
                      <a:pt x="72" y="24"/>
                      <a:pt x="72" y="24"/>
                    </a:cubicBezTo>
                    <a:cubicBezTo>
                      <a:pt x="72" y="2"/>
                      <a:pt x="72" y="2"/>
                      <a:pt x="72" y="2"/>
                    </a:cubicBezTo>
                    <a:cubicBezTo>
                      <a:pt x="80" y="2"/>
                      <a:pt x="80" y="2"/>
                      <a:pt x="80" y="2"/>
                    </a:cubicBezTo>
                    <a:cubicBezTo>
                      <a:pt x="80" y="30"/>
                      <a:pt x="80" y="30"/>
                      <a:pt x="80" y="30"/>
                    </a:cubicBezTo>
                    <a:cubicBezTo>
                      <a:pt x="26" y="50"/>
                      <a:pt x="26" y="50"/>
                      <a:pt x="26" y="50"/>
                    </a:cubicBezTo>
                    <a:cubicBezTo>
                      <a:pt x="15" y="54"/>
                      <a:pt x="8" y="64"/>
                      <a:pt x="8" y="75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192" y="87"/>
                      <a:pt x="192" y="87"/>
                      <a:pt x="192" y="87"/>
                    </a:cubicBezTo>
                    <a:cubicBezTo>
                      <a:pt x="192" y="75"/>
                      <a:pt x="192" y="75"/>
                      <a:pt x="192" y="75"/>
                    </a:cubicBezTo>
                    <a:cubicBezTo>
                      <a:pt x="192" y="64"/>
                      <a:pt x="185" y="54"/>
                      <a:pt x="174" y="50"/>
                    </a:cubicBezTo>
                    <a:cubicBezTo>
                      <a:pt x="120" y="30"/>
                      <a:pt x="120" y="30"/>
                      <a:pt x="120" y="3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28" y="24"/>
                      <a:pt x="128" y="24"/>
                      <a:pt x="128" y="24"/>
                    </a:cubicBezTo>
                    <a:cubicBezTo>
                      <a:pt x="177" y="42"/>
                      <a:pt x="177" y="42"/>
                      <a:pt x="177" y="42"/>
                    </a:cubicBezTo>
                    <a:cubicBezTo>
                      <a:pt x="191" y="47"/>
                      <a:pt x="200" y="60"/>
                      <a:pt x="200" y="75"/>
                    </a:cubicBezTo>
                    <a:lnTo>
                      <a:pt x="20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" name="Freeform 580">
                <a:extLst>
                  <a:ext uri="{FF2B5EF4-FFF2-40B4-BE49-F238E27FC236}">
                    <a16:creationId xmlns:a16="http://schemas.microsoft.com/office/drawing/2014/main" id="{D1237FAB-0DB1-45B3-99EE-786680ABE23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63739" y="5099050"/>
                <a:ext cx="163513" cy="193675"/>
              </a:xfrm>
              <a:custGeom>
                <a:avLst/>
                <a:gdLst>
                  <a:gd name="T0" fmla="*/ 55 w 109"/>
                  <a:gd name="T1" fmla="*/ 129 h 129"/>
                  <a:gd name="T2" fmla="*/ 0 w 109"/>
                  <a:gd name="T3" fmla="*/ 64 h 129"/>
                  <a:gd name="T4" fmla="*/ 55 w 109"/>
                  <a:gd name="T5" fmla="*/ 0 h 129"/>
                  <a:gd name="T6" fmla="*/ 109 w 109"/>
                  <a:gd name="T7" fmla="*/ 64 h 129"/>
                  <a:gd name="T8" fmla="*/ 55 w 109"/>
                  <a:gd name="T9" fmla="*/ 129 h 129"/>
                  <a:gd name="T10" fmla="*/ 55 w 109"/>
                  <a:gd name="T11" fmla="*/ 8 h 129"/>
                  <a:gd name="T12" fmla="*/ 8 w 109"/>
                  <a:gd name="T13" fmla="*/ 64 h 129"/>
                  <a:gd name="T14" fmla="*/ 55 w 109"/>
                  <a:gd name="T15" fmla="*/ 121 h 129"/>
                  <a:gd name="T16" fmla="*/ 101 w 109"/>
                  <a:gd name="T17" fmla="*/ 64 h 129"/>
                  <a:gd name="T18" fmla="*/ 55 w 109"/>
                  <a:gd name="T19" fmla="*/ 8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129">
                    <a:moveTo>
                      <a:pt x="55" y="129"/>
                    </a:moveTo>
                    <a:cubicBezTo>
                      <a:pt x="25" y="129"/>
                      <a:pt x="0" y="100"/>
                      <a:pt x="0" y="64"/>
                    </a:cubicBezTo>
                    <a:cubicBezTo>
                      <a:pt x="0" y="29"/>
                      <a:pt x="25" y="0"/>
                      <a:pt x="55" y="0"/>
                    </a:cubicBezTo>
                    <a:cubicBezTo>
                      <a:pt x="85" y="0"/>
                      <a:pt x="109" y="29"/>
                      <a:pt x="109" y="64"/>
                    </a:cubicBezTo>
                    <a:cubicBezTo>
                      <a:pt x="109" y="100"/>
                      <a:pt x="85" y="129"/>
                      <a:pt x="55" y="129"/>
                    </a:cubicBezTo>
                    <a:close/>
                    <a:moveTo>
                      <a:pt x="55" y="8"/>
                    </a:moveTo>
                    <a:cubicBezTo>
                      <a:pt x="29" y="8"/>
                      <a:pt x="8" y="33"/>
                      <a:pt x="8" y="64"/>
                    </a:cubicBezTo>
                    <a:cubicBezTo>
                      <a:pt x="8" y="96"/>
                      <a:pt x="29" y="121"/>
                      <a:pt x="55" y="121"/>
                    </a:cubicBezTo>
                    <a:cubicBezTo>
                      <a:pt x="80" y="121"/>
                      <a:pt x="101" y="96"/>
                      <a:pt x="101" y="64"/>
                    </a:cubicBezTo>
                    <a:cubicBezTo>
                      <a:pt x="101" y="33"/>
                      <a:pt x="80" y="8"/>
                      <a:pt x="55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" name="Freeform 581">
                <a:extLst>
                  <a:ext uri="{FF2B5EF4-FFF2-40B4-BE49-F238E27FC236}">
                    <a16:creationId xmlns:a16="http://schemas.microsoft.com/office/drawing/2014/main" id="{6B194418-3E81-51D4-3CE4-82167276E51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68501" y="5145088"/>
                <a:ext cx="153988" cy="49213"/>
              </a:xfrm>
              <a:custGeom>
                <a:avLst/>
                <a:gdLst>
                  <a:gd name="T0" fmla="*/ 89 w 102"/>
                  <a:gd name="T1" fmla="*/ 33 h 33"/>
                  <a:gd name="T2" fmla="*/ 59 w 102"/>
                  <a:gd name="T3" fmla="*/ 16 h 33"/>
                  <a:gd name="T4" fmla="*/ 21 w 102"/>
                  <a:gd name="T5" fmla="*/ 32 h 33"/>
                  <a:gd name="T6" fmla="*/ 0 w 102"/>
                  <a:gd name="T7" fmla="*/ 27 h 33"/>
                  <a:gd name="T8" fmla="*/ 4 w 102"/>
                  <a:gd name="T9" fmla="*/ 20 h 33"/>
                  <a:gd name="T10" fmla="*/ 21 w 102"/>
                  <a:gd name="T11" fmla="*/ 24 h 33"/>
                  <a:gd name="T12" fmla="*/ 56 w 102"/>
                  <a:gd name="T13" fmla="*/ 7 h 33"/>
                  <a:gd name="T14" fmla="*/ 59 w 102"/>
                  <a:gd name="T15" fmla="*/ 0 h 33"/>
                  <a:gd name="T16" fmla="*/ 63 w 102"/>
                  <a:gd name="T17" fmla="*/ 7 h 33"/>
                  <a:gd name="T18" fmla="*/ 96 w 102"/>
                  <a:gd name="T19" fmla="*/ 24 h 33"/>
                  <a:gd name="T20" fmla="*/ 100 w 102"/>
                  <a:gd name="T21" fmla="*/ 24 h 33"/>
                  <a:gd name="T22" fmla="*/ 101 w 102"/>
                  <a:gd name="T23" fmla="*/ 24 h 33"/>
                  <a:gd name="T24" fmla="*/ 102 w 102"/>
                  <a:gd name="T25" fmla="*/ 32 h 33"/>
                  <a:gd name="T26" fmla="*/ 100 w 102"/>
                  <a:gd name="T27" fmla="*/ 32 h 33"/>
                  <a:gd name="T28" fmla="*/ 98 w 102"/>
                  <a:gd name="T29" fmla="*/ 32 h 33"/>
                  <a:gd name="T30" fmla="*/ 89 w 102"/>
                  <a:gd name="T31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2" h="33">
                    <a:moveTo>
                      <a:pt x="89" y="33"/>
                    </a:moveTo>
                    <a:cubicBezTo>
                      <a:pt x="77" y="33"/>
                      <a:pt x="67" y="28"/>
                      <a:pt x="59" y="16"/>
                    </a:cubicBezTo>
                    <a:cubicBezTo>
                      <a:pt x="51" y="25"/>
                      <a:pt x="35" y="32"/>
                      <a:pt x="21" y="32"/>
                    </a:cubicBezTo>
                    <a:cubicBezTo>
                      <a:pt x="14" y="32"/>
                      <a:pt x="7" y="31"/>
                      <a:pt x="0" y="27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9" y="23"/>
                      <a:pt x="15" y="24"/>
                      <a:pt x="21" y="24"/>
                    </a:cubicBezTo>
                    <a:cubicBezTo>
                      <a:pt x="35" y="24"/>
                      <a:pt x="51" y="16"/>
                      <a:pt x="56" y="7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72" y="22"/>
                      <a:pt x="81" y="27"/>
                      <a:pt x="96" y="24"/>
                    </a:cubicBezTo>
                    <a:cubicBezTo>
                      <a:pt x="98" y="24"/>
                      <a:pt x="99" y="24"/>
                      <a:pt x="100" y="24"/>
                    </a:cubicBezTo>
                    <a:cubicBezTo>
                      <a:pt x="100" y="24"/>
                      <a:pt x="101" y="24"/>
                      <a:pt x="101" y="24"/>
                    </a:cubicBezTo>
                    <a:cubicBezTo>
                      <a:pt x="102" y="32"/>
                      <a:pt x="102" y="32"/>
                      <a:pt x="102" y="32"/>
                    </a:cubicBezTo>
                    <a:cubicBezTo>
                      <a:pt x="101" y="32"/>
                      <a:pt x="101" y="32"/>
                      <a:pt x="100" y="32"/>
                    </a:cubicBezTo>
                    <a:cubicBezTo>
                      <a:pt x="99" y="32"/>
                      <a:pt x="99" y="32"/>
                      <a:pt x="98" y="32"/>
                    </a:cubicBezTo>
                    <a:cubicBezTo>
                      <a:pt x="95" y="33"/>
                      <a:pt x="92" y="33"/>
                      <a:pt x="89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86" name="Gruppieren 87">
              <a:extLst>
                <a:ext uri="{FF2B5EF4-FFF2-40B4-BE49-F238E27FC236}">
                  <a16:creationId xmlns:a16="http://schemas.microsoft.com/office/drawing/2014/main" id="{AFEDA946-EECC-E156-39DA-E268AAE9658E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301379" y="3668770"/>
              <a:ext cx="204116" cy="214859"/>
              <a:chOff x="1897064" y="5099050"/>
              <a:chExt cx="301625" cy="317500"/>
            </a:xfrm>
            <a:grpFill/>
          </p:grpSpPr>
          <p:sp>
            <p:nvSpPr>
              <p:cNvPr id="91" name="Freeform 579">
                <a:extLst>
                  <a:ext uri="{FF2B5EF4-FFF2-40B4-BE49-F238E27FC236}">
                    <a16:creationId xmlns:a16="http://schemas.microsoft.com/office/drawing/2014/main" id="{08C26487-2E5D-A220-1F0C-04D990BB17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97064" y="5273675"/>
                <a:ext cx="301625" cy="142875"/>
              </a:xfrm>
              <a:custGeom>
                <a:avLst/>
                <a:gdLst>
                  <a:gd name="T0" fmla="*/ 200 w 200"/>
                  <a:gd name="T1" fmla="*/ 95 h 95"/>
                  <a:gd name="T2" fmla="*/ 0 w 200"/>
                  <a:gd name="T3" fmla="*/ 95 h 95"/>
                  <a:gd name="T4" fmla="*/ 0 w 200"/>
                  <a:gd name="T5" fmla="*/ 75 h 95"/>
                  <a:gd name="T6" fmla="*/ 23 w 200"/>
                  <a:gd name="T7" fmla="*/ 42 h 95"/>
                  <a:gd name="T8" fmla="*/ 72 w 200"/>
                  <a:gd name="T9" fmla="*/ 24 h 95"/>
                  <a:gd name="T10" fmla="*/ 72 w 200"/>
                  <a:gd name="T11" fmla="*/ 2 h 95"/>
                  <a:gd name="T12" fmla="*/ 80 w 200"/>
                  <a:gd name="T13" fmla="*/ 2 h 95"/>
                  <a:gd name="T14" fmla="*/ 80 w 200"/>
                  <a:gd name="T15" fmla="*/ 30 h 95"/>
                  <a:gd name="T16" fmla="*/ 26 w 200"/>
                  <a:gd name="T17" fmla="*/ 50 h 95"/>
                  <a:gd name="T18" fmla="*/ 8 w 200"/>
                  <a:gd name="T19" fmla="*/ 75 h 95"/>
                  <a:gd name="T20" fmla="*/ 8 w 200"/>
                  <a:gd name="T21" fmla="*/ 87 h 95"/>
                  <a:gd name="T22" fmla="*/ 192 w 200"/>
                  <a:gd name="T23" fmla="*/ 87 h 95"/>
                  <a:gd name="T24" fmla="*/ 192 w 200"/>
                  <a:gd name="T25" fmla="*/ 75 h 95"/>
                  <a:gd name="T26" fmla="*/ 174 w 200"/>
                  <a:gd name="T27" fmla="*/ 50 h 95"/>
                  <a:gd name="T28" fmla="*/ 120 w 200"/>
                  <a:gd name="T29" fmla="*/ 30 h 95"/>
                  <a:gd name="T30" fmla="*/ 120 w 200"/>
                  <a:gd name="T31" fmla="*/ 0 h 95"/>
                  <a:gd name="T32" fmla="*/ 128 w 200"/>
                  <a:gd name="T33" fmla="*/ 0 h 95"/>
                  <a:gd name="T34" fmla="*/ 128 w 200"/>
                  <a:gd name="T35" fmla="*/ 24 h 95"/>
                  <a:gd name="T36" fmla="*/ 177 w 200"/>
                  <a:gd name="T37" fmla="*/ 42 h 95"/>
                  <a:gd name="T38" fmla="*/ 200 w 200"/>
                  <a:gd name="T39" fmla="*/ 75 h 95"/>
                  <a:gd name="T40" fmla="*/ 200 w 200"/>
                  <a:gd name="T41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0" h="95">
                    <a:moveTo>
                      <a:pt x="200" y="95"/>
                    </a:moveTo>
                    <a:cubicBezTo>
                      <a:pt x="0" y="95"/>
                      <a:pt x="0" y="95"/>
                      <a:pt x="0" y="9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60"/>
                      <a:pt x="9" y="47"/>
                      <a:pt x="23" y="42"/>
                    </a:cubicBezTo>
                    <a:cubicBezTo>
                      <a:pt x="72" y="24"/>
                      <a:pt x="72" y="24"/>
                      <a:pt x="72" y="24"/>
                    </a:cubicBezTo>
                    <a:cubicBezTo>
                      <a:pt x="72" y="2"/>
                      <a:pt x="72" y="2"/>
                      <a:pt x="72" y="2"/>
                    </a:cubicBezTo>
                    <a:cubicBezTo>
                      <a:pt x="80" y="2"/>
                      <a:pt x="80" y="2"/>
                      <a:pt x="80" y="2"/>
                    </a:cubicBezTo>
                    <a:cubicBezTo>
                      <a:pt x="80" y="30"/>
                      <a:pt x="80" y="30"/>
                      <a:pt x="80" y="30"/>
                    </a:cubicBezTo>
                    <a:cubicBezTo>
                      <a:pt x="26" y="50"/>
                      <a:pt x="26" y="50"/>
                      <a:pt x="26" y="50"/>
                    </a:cubicBezTo>
                    <a:cubicBezTo>
                      <a:pt x="15" y="54"/>
                      <a:pt x="8" y="64"/>
                      <a:pt x="8" y="75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192" y="87"/>
                      <a:pt x="192" y="87"/>
                      <a:pt x="192" y="87"/>
                    </a:cubicBezTo>
                    <a:cubicBezTo>
                      <a:pt x="192" y="75"/>
                      <a:pt x="192" y="75"/>
                      <a:pt x="192" y="75"/>
                    </a:cubicBezTo>
                    <a:cubicBezTo>
                      <a:pt x="192" y="64"/>
                      <a:pt x="185" y="54"/>
                      <a:pt x="174" y="50"/>
                    </a:cubicBezTo>
                    <a:cubicBezTo>
                      <a:pt x="120" y="30"/>
                      <a:pt x="120" y="30"/>
                      <a:pt x="120" y="3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28" y="24"/>
                      <a:pt x="128" y="24"/>
                      <a:pt x="128" y="24"/>
                    </a:cubicBezTo>
                    <a:cubicBezTo>
                      <a:pt x="177" y="42"/>
                      <a:pt x="177" y="42"/>
                      <a:pt x="177" y="42"/>
                    </a:cubicBezTo>
                    <a:cubicBezTo>
                      <a:pt x="191" y="47"/>
                      <a:pt x="200" y="60"/>
                      <a:pt x="200" y="75"/>
                    </a:cubicBezTo>
                    <a:lnTo>
                      <a:pt x="20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" name="Freeform 580">
                <a:extLst>
                  <a:ext uri="{FF2B5EF4-FFF2-40B4-BE49-F238E27FC236}">
                    <a16:creationId xmlns:a16="http://schemas.microsoft.com/office/drawing/2014/main" id="{3469C769-3C35-9312-7B6D-F3D0102272B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63739" y="5099050"/>
                <a:ext cx="163513" cy="193675"/>
              </a:xfrm>
              <a:custGeom>
                <a:avLst/>
                <a:gdLst>
                  <a:gd name="T0" fmla="*/ 55 w 109"/>
                  <a:gd name="T1" fmla="*/ 129 h 129"/>
                  <a:gd name="T2" fmla="*/ 0 w 109"/>
                  <a:gd name="T3" fmla="*/ 64 h 129"/>
                  <a:gd name="T4" fmla="*/ 55 w 109"/>
                  <a:gd name="T5" fmla="*/ 0 h 129"/>
                  <a:gd name="T6" fmla="*/ 109 w 109"/>
                  <a:gd name="T7" fmla="*/ 64 h 129"/>
                  <a:gd name="T8" fmla="*/ 55 w 109"/>
                  <a:gd name="T9" fmla="*/ 129 h 129"/>
                  <a:gd name="T10" fmla="*/ 55 w 109"/>
                  <a:gd name="T11" fmla="*/ 8 h 129"/>
                  <a:gd name="T12" fmla="*/ 8 w 109"/>
                  <a:gd name="T13" fmla="*/ 64 h 129"/>
                  <a:gd name="T14" fmla="*/ 55 w 109"/>
                  <a:gd name="T15" fmla="*/ 121 h 129"/>
                  <a:gd name="T16" fmla="*/ 101 w 109"/>
                  <a:gd name="T17" fmla="*/ 64 h 129"/>
                  <a:gd name="T18" fmla="*/ 55 w 109"/>
                  <a:gd name="T19" fmla="*/ 8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129">
                    <a:moveTo>
                      <a:pt x="55" y="129"/>
                    </a:moveTo>
                    <a:cubicBezTo>
                      <a:pt x="25" y="129"/>
                      <a:pt x="0" y="100"/>
                      <a:pt x="0" y="64"/>
                    </a:cubicBezTo>
                    <a:cubicBezTo>
                      <a:pt x="0" y="29"/>
                      <a:pt x="25" y="0"/>
                      <a:pt x="55" y="0"/>
                    </a:cubicBezTo>
                    <a:cubicBezTo>
                      <a:pt x="85" y="0"/>
                      <a:pt x="109" y="29"/>
                      <a:pt x="109" y="64"/>
                    </a:cubicBezTo>
                    <a:cubicBezTo>
                      <a:pt x="109" y="100"/>
                      <a:pt x="85" y="129"/>
                      <a:pt x="55" y="129"/>
                    </a:cubicBezTo>
                    <a:close/>
                    <a:moveTo>
                      <a:pt x="55" y="8"/>
                    </a:moveTo>
                    <a:cubicBezTo>
                      <a:pt x="29" y="8"/>
                      <a:pt x="8" y="33"/>
                      <a:pt x="8" y="64"/>
                    </a:cubicBezTo>
                    <a:cubicBezTo>
                      <a:pt x="8" y="96"/>
                      <a:pt x="29" y="121"/>
                      <a:pt x="55" y="121"/>
                    </a:cubicBezTo>
                    <a:cubicBezTo>
                      <a:pt x="80" y="121"/>
                      <a:pt x="101" y="96"/>
                      <a:pt x="101" y="64"/>
                    </a:cubicBezTo>
                    <a:cubicBezTo>
                      <a:pt x="101" y="33"/>
                      <a:pt x="80" y="8"/>
                      <a:pt x="55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" name="Freeform 581">
                <a:extLst>
                  <a:ext uri="{FF2B5EF4-FFF2-40B4-BE49-F238E27FC236}">
                    <a16:creationId xmlns:a16="http://schemas.microsoft.com/office/drawing/2014/main" id="{B4F54468-FAA0-4034-DDA5-C451EEC8DF7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68501" y="5145088"/>
                <a:ext cx="153988" cy="49213"/>
              </a:xfrm>
              <a:custGeom>
                <a:avLst/>
                <a:gdLst>
                  <a:gd name="T0" fmla="*/ 89 w 102"/>
                  <a:gd name="T1" fmla="*/ 33 h 33"/>
                  <a:gd name="T2" fmla="*/ 59 w 102"/>
                  <a:gd name="T3" fmla="*/ 16 h 33"/>
                  <a:gd name="T4" fmla="*/ 21 w 102"/>
                  <a:gd name="T5" fmla="*/ 32 h 33"/>
                  <a:gd name="T6" fmla="*/ 0 w 102"/>
                  <a:gd name="T7" fmla="*/ 27 h 33"/>
                  <a:gd name="T8" fmla="*/ 4 w 102"/>
                  <a:gd name="T9" fmla="*/ 20 h 33"/>
                  <a:gd name="T10" fmla="*/ 21 w 102"/>
                  <a:gd name="T11" fmla="*/ 24 h 33"/>
                  <a:gd name="T12" fmla="*/ 56 w 102"/>
                  <a:gd name="T13" fmla="*/ 7 h 33"/>
                  <a:gd name="T14" fmla="*/ 59 w 102"/>
                  <a:gd name="T15" fmla="*/ 0 h 33"/>
                  <a:gd name="T16" fmla="*/ 63 w 102"/>
                  <a:gd name="T17" fmla="*/ 7 h 33"/>
                  <a:gd name="T18" fmla="*/ 96 w 102"/>
                  <a:gd name="T19" fmla="*/ 24 h 33"/>
                  <a:gd name="T20" fmla="*/ 100 w 102"/>
                  <a:gd name="T21" fmla="*/ 24 h 33"/>
                  <a:gd name="T22" fmla="*/ 101 w 102"/>
                  <a:gd name="T23" fmla="*/ 24 h 33"/>
                  <a:gd name="T24" fmla="*/ 102 w 102"/>
                  <a:gd name="T25" fmla="*/ 32 h 33"/>
                  <a:gd name="T26" fmla="*/ 100 w 102"/>
                  <a:gd name="T27" fmla="*/ 32 h 33"/>
                  <a:gd name="T28" fmla="*/ 98 w 102"/>
                  <a:gd name="T29" fmla="*/ 32 h 33"/>
                  <a:gd name="T30" fmla="*/ 89 w 102"/>
                  <a:gd name="T31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2" h="33">
                    <a:moveTo>
                      <a:pt x="89" y="33"/>
                    </a:moveTo>
                    <a:cubicBezTo>
                      <a:pt x="77" y="33"/>
                      <a:pt x="67" y="28"/>
                      <a:pt x="59" y="16"/>
                    </a:cubicBezTo>
                    <a:cubicBezTo>
                      <a:pt x="51" y="25"/>
                      <a:pt x="35" y="32"/>
                      <a:pt x="21" y="32"/>
                    </a:cubicBezTo>
                    <a:cubicBezTo>
                      <a:pt x="14" y="32"/>
                      <a:pt x="7" y="31"/>
                      <a:pt x="0" y="27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9" y="23"/>
                      <a:pt x="15" y="24"/>
                      <a:pt x="21" y="24"/>
                    </a:cubicBezTo>
                    <a:cubicBezTo>
                      <a:pt x="35" y="24"/>
                      <a:pt x="51" y="16"/>
                      <a:pt x="56" y="7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72" y="22"/>
                      <a:pt x="81" y="27"/>
                      <a:pt x="96" y="24"/>
                    </a:cubicBezTo>
                    <a:cubicBezTo>
                      <a:pt x="98" y="24"/>
                      <a:pt x="99" y="24"/>
                      <a:pt x="100" y="24"/>
                    </a:cubicBezTo>
                    <a:cubicBezTo>
                      <a:pt x="100" y="24"/>
                      <a:pt x="101" y="24"/>
                      <a:pt x="101" y="24"/>
                    </a:cubicBezTo>
                    <a:cubicBezTo>
                      <a:pt x="102" y="32"/>
                      <a:pt x="102" y="32"/>
                      <a:pt x="102" y="32"/>
                    </a:cubicBezTo>
                    <a:cubicBezTo>
                      <a:pt x="101" y="32"/>
                      <a:pt x="101" y="32"/>
                      <a:pt x="100" y="32"/>
                    </a:cubicBezTo>
                    <a:cubicBezTo>
                      <a:pt x="99" y="32"/>
                      <a:pt x="99" y="32"/>
                      <a:pt x="98" y="32"/>
                    </a:cubicBezTo>
                    <a:cubicBezTo>
                      <a:pt x="95" y="33"/>
                      <a:pt x="92" y="33"/>
                      <a:pt x="89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87" name="Gruppieren 88">
              <a:extLst>
                <a:ext uri="{FF2B5EF4-FFF2-40B4-BE49-F238E27FC236}">
                  <a16:creationId xmlns:a16="http://schemas.microsoft.com/office/drawing/2014/main" id="{933CFB3D-DEB7-95E6-6D6C-246352125B69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301379" y="3952644"/>
              <a:ext cx="204116" cy="214859"/>
              <a:chOff x="1897064" y="5099050"/>
              <a:chExt cx="301625" cy="317500"/>
            </a:xfrm>
            <a:grpFill/>
          </p:grpSpPr>
          <p:sp>
            <p:nvSpPr>
              <p:cNvPr id="88" name="Freeform 579">
                <a:extLst>
                  <a:ext uri="{FF2B5EF4-FFF2-40B4-BE49-F238E27FC236}">
                    <a16:creationId xmlns:a16="http://schemas.microsoft.com/office/drawing/2014/main" id="{C554E68C-2164-3A99-02FC-63BBC977F8B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97064" y="5273675"/>
                <a:ext cx="301625" cy="142875"/>
              </a:xfrm>
              <a:custGeom>
                <a:avLst/>
                <a:gdLst>
                  <a:gd name="T0" fmla="*/ 200 w 200"/>
                  <a:gd name="T1" fmla="*/ 95 h 95"/>
                  <a:gd name="T2" fmla="*/ 0 w 200"/>
                  <a:gd name="T3" fmla="*/ 95 h 95"/>
                  <a:gd name="T4" fmla="*/ 0 w 200"/>
                  <a:gd name="T5" fmla="*/ 75 h 95"/>
                  <a:gd name="T6" fmla="*/ 23 w 200"/>
                  <a:gd name="T7" fmla="*/ 42 h 95"/>
                  <a:gd name="T8" fmla="*/ 72 w 200"/>
                  <a:gd name="T9" fmla="*/ 24 h 95"/>
                  <a:gd name="T10" fmla="*/ 72 w 200"/>
                  <a:gd name="T11" fmla="*/ 2 h 95"/>
                  <a:gd name="T12" fmla="*/ 80 w 200"/>
                  <a:gd name="T13" fmla="*/ 2 h 95"/>
                  <a:gd name="T14" fmla="*/ 80 w 200"/>
                  <a:gd name="T15" fmla="*/ 30 h 95"/>
                  <a:gd name="T16" fmla="*/ 26 w 200"/>
                  <a:gd name="T17" fmla="*/ 50 h 95"/>
                  <a:gd name="T18" fmla="*/ 8 w 200"/>
                  <a:gd name="T19" fmla="*/ 75 h 95"/>
                  <a:gd name="T20" fmla="*/ 8 w 200"/>
                  <a:gd name="T21" fmla="*/ 87 h 95"/>
                  <a:gd name="T22" fmla="*/ 192 w 200"/>
                  <a:gd name="T23" fmla="*/ 87 h 95"/>
                  <a:gd name="T24" fmla="*/ 192 w 200"/>
                  <a:gd name="T25" fmla="*/ 75 h 95"/>
                  <a:gd name="T26" fmla="*/ 174 w 200"/>
                  <a:gd name="T27" fmla="*/ 50 h 95"/>
                  <a:gd name="T28" fmla="*/ 120 w 200"/>
                  <a:gd name="T29" fmla="*/ 30 h 95"/>
                  <a:gd name="T30" fmla="*/ 120 w 200"/>
                  <a:gd name="T31" fmla="*/ 0 h 95"/>
                  <a:gd name="T32" fmla="*/ 128 w 200"/>
                  <a:gd name="T33" fmla="*/ 0 h 95"/>
                  <a:gd name="T34" fmla="*/ 128 w 200"/>
                  <a:gd name="T35" fmla="*/ 24 h 95"/>
                  <a:gd name="T36" fmla="*/ 177 w 200"/>
                  <a:gd name="T37" fmla="*/ 42 h 95"/>
                  <a:gd name="T38" fmla="*/ 200 w 200"/>
                  <a:gd name="T39" fmla="*/ 75 h 95"/>
                  <a:gd name="T40" fmla="*/ 200 w 200"/>
                  <a:gd name="T41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0" h="95">
                    <a:moveTo>
                      <a:pt x="200" y="95"/>
                    </a:moveTo>
                    <a:cubicBezTo>
                      <a:pt x="0" y="95"/>
                      <a:pt x="0" y="95"/>
                      <a:pt x="0" y="9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60"/>
                      <a:pt x="9" y="47"/>
                      <a:pt x="23" y="42"/>
                    </a:cubicBezTo>
                    <a:cubicBezTo>
                      <a:pt x="72" y="24"/>
                      <a:pt x="72" y="24"/>
                      <a:pt x="72" y="24"/>
                    </a:cubicBezTo>
                    <a:cubicBezTo>
                      <a:pt x="72" y="2"/>
                      <a:pt x="72" y="2"/>
                      <a:pt x="72" y="2"/>
                    </a:cubicBezTo>
                    <a:cubicBezTo>
                      <a:pt x="80" y="2"/>
                      <a:pt x="80" y="2"/>
                      <a:pt x="80" y="2"/>
                    </a:cubicBezTo>
                    <a:cubicBezTo>
                      <a:pt x="80" y="30"/>
                      <a:pt x="80" y="30"/>
                      <a:pt x="80" y="30"/>
                    </a:cubicBezTo>
                    <a:cubicBezTo>
                      <a:pt x="26" y="50"/>
                      <a:pt x="26" y="50"/>
                      <a:pt x="26" y="50"/>
                    </a:cubicBezTo>
                    <a:cubicBezTo>
                      <a:pt x="15" y="54"/>
                      <a:pt x="8" y="64"/>
                      <a:pt x="8" y="75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192" y="87"/>
                      <a:pt x="192" y="87"/>
                      <a:pt x="192" y="87"/>
                    </a:cubicBezTo>
                    <a:cubicBezTo>
                      <a:pt x="192" y="75"/>
                      <a:pt x="192" y="75"/>
                      <a:pt x="192" y="75"/>
                    </a:cubicBezTo>
                    <a:cubicBezTo>
                      <a:pt x="192" y="64"/>
                      <a:pt x="185" y="54"/>
                      <a:pt x="174" y="50"/>
                    </a:cubicBezTo>
                    <a:cubicBezTo>
                      <a:pt x="120" y="30"/>
                      <a:pt x="120" y="30"/>
                      <a:pt x="120" y="3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28" y="24"/>
                      <a:pt x="128" y="24"/>
                      <a:pt x="128" y="24"/>
                    </a:cubicBezTo>
                    <a:cubicBezTo>
                      <a:pt x="177" y="42"/>
                      <a:pt x="177" y="42"/>
                      <a:pt x="177" y="42"/>
                    </a:cubicBezTo>
                    <a:cubicBezTo>
                      <a:pt x="191" y="47"/>
                      <a:pt x="200" y="60"/>
                      <a:pt x="200" y="75"/>
                    </a:cubicBezTo>
                    <a:lnTo>
                      <a:pt x="20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" name="Freeform 580">
                <a:extLst>
                  <a:ext uri="{FF2B5EF4-FFF2-40B4-BE49-F238E27FC236}">
                    <a16:creationId xmlns:a16="http://schemas.microsoft.com/office/drawing/2014/main" id="{975D9806-AD56-E66D-0F2D-5BB515D88F3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63739" y="5099050"/>
                <a:ext cx="163513" cy="193675"/>
              </a:xfrm>
              <a:custGeom>
                <a:avLst/>
                <a:gdLst>
                  <a:gd name="T0" fmla="*/ 55 w 109"/>
                  <a:gd name="T1" fmla="*/ 129 h 129"/>
                  <a:gd name="T2" fmla="*/ 0 w 109"/>
                  <a:gd name="T3" fmla="*/ 64 h 129"/>
                  <a:gd name="T4" fmla="*/ 55 w 109"/>
                  <a:gd name="T5" fmla="*/ 0 h 129"/>
                  <a:gd name="T6" fmla="*/ 109 w 109"/>
                  <a:gd name="T7" fmla="*/ 64 h 129"/>
                  <a:gd name="T8" fmla="*/ 55 w 109"/>
                  <a:gd name="T9" fmla="*/ 129 h 129"/>
                  <a:gd name="T10" fmla="*/ 55 w 109"/>
                  <a:gd name="T11" fmla="*/ 8 h 129"/>
                  <a:gd name="T12" fmla="*/ 8 w 109"/>
                  <a:gd name="T13" fmla="*/ 64 h 129"/>
                  <a:gd name="T14" fmla="*/ 55 w 109"/>
                  <a:gd name="T15" fmla="*/ 121 h 129"/>
                  <a:gd name="T16" fmla="*/ 101 w 109"/>
                  <a:gd name="T17" fmla="*/ 64 h 129"/>
                  <a:gd name="T18" fmla="*/ 55 w 109"/>
                  <a:gd name="T19" fmla="*/ 8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129">
                    <a:moveTo>
                      <a:pt x="55" y="129"/>
                    </a:moveTo>
                    <a:cubicBezTo>
                      <a:pt x="25" y="129"/>
                      <a:pt x="0" y="100"/>
                      <a:pt x="0" y="64"/>
                    </a:cubicBezTo>
                    <a:cubicBezTo>
                      <a:pt x="0" y="29"/>
                      <a:pt x="25" y="0"/>
                      <a:pt x="55" y="0"/>
                    </a:cubicBezTo>
                    <a:cubicBezTo>
                      <a:pt x="85" y="0"/>
                      <a:pt x="109" y="29"/>
                      <a:pt x="109" y="64"/>
                    </a:cubicBezTo>
                    <a:cubicBezTo>
                      <a:pt x="109" y="100"/>
                      <a:pt x="85" y="129"/>
                      <a:pt x="55" y="129"/>
                    </a:cubicBezTo>
                    <a:close/>
                    <a:moveTo>
                      <a:pt x="55" y="8"/>
                    </a:moveTo>
                    <a:cubicBezTo>
                      <a:pt x="29" y="8"/>
                      <a:pt x="8" y="33"/>
                      <a:pt x="8" y="64"/>
                    </a:cubicBezTo>
                    <a:cubicBezTo>
                      <a:pt x="8" y="96"/>
                      <a:pt x="29" y="121"/>
                      <a:pt x="55" y="121"/>
                    </a:cubicBezTo>
                    <a:cubicBezTo>
                      <a:pt x="80" y="121"/>
                      <a:pt x="101" y="96"/>
                      <a:pt x="101" y="64"/>
                    </a:cubicBezTo>
                    <a:cubicBezTo>
                      <a:pt x="101" y="33"/>
                      <a:pt x="80" y="8"/>
                      <a:pt x="55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" name="Freeform 581">
                <a:extLst>
                  <a:ext uri="{FF2B5EF4-FFF2-40B4-BE49-F238E27FC236}">
                    <a16:creationId xmlns:a16="http://schemas.microsoft.com/office/drawing/2014/main" id="{313FE24F-5DBF-DF88-2E1D-FCF0647A33B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68501" y="5145088"/>
                <a:ext cx="153988" cy="49213"/>
              </a:xfrm>
              <a:custGeom>
                <a:avLst/>
                <a:gdLst>
                  <a:gd name="T0" fmla="*/ 89 w 102"/>
                  <a:gd name="T1" fmla="*/ 33 h 33"/>
                  <a:gd name="T2" fmla="*/ 59 w 102"/>
                  <a:gd name="T3" fmla="*/ 16 h 33"/>
                  <a:gd name="T4" fmla="*/ 21 w 102"/>
                  <a:gd name="T5" fmla="*/ 32 h 33"/>
                  <a:gd name="T6" fmla="*/ 0 w 102"/>
                  <a:gd name="T7" fmla="*/ 27 h 33"/>
                  <a:gd name="T8" fmla="*/ 4 w 102"/>
                  <a:gd name="T9" fmla="*/ 20 h 33"/>
                  <a:gd name="T10" fmla="*/ 21 w 102"/>
                  <a:gd name="T11" fmla="*/ 24 h 33"/>
                  <a:gd name="T12" fmla="*/ 56 w 102"/>
                  <a:gd name="T13" fmla="*/ 7 h 33"/>
                  <a:gd name="T14" fmla="*/ 59 w 102"/>
                  <a:gd name="T15" fmla="*/ 0 h 33"/>
                  <a:gd name="T16" fmla="*/ 63 w 102"/>
                  <a:gd name="T17" fmla="*/ 7 h 33"/>
                  <a:gd name="T18" fmla="*/ 96 w 102"/>
                  <a:gd name="T19" fmla="*/ 24 h 33"/>
                  <a:gd name="T20" fmla="*/ 100 w 102"/>
                  <a:gd name="T21" fmla="*/ 24 h 33"/>
                  <a:gd name="T22" fmla="*/ 101 w 102"/>
                  <a:gd name="T23" fmla="*/ 24 h 33"/>
                  <a:gd name="T24" fmla="*/ 102 w 102"/>
                  <a:gd name="T25" fmla="*/ 32 h 33"/>
                  <a:gd name="T26" fmla="*/ 100 w 102"/>
                  <a:gd name="T27" fmla="*/ 32 h 33"/>
                  <a:gd name="T28" fmla="*/ 98 w 102"/>
                  <a:gd name="T29" fmla="*/ 32 h 33"/>
                  <a:gd name="T30" fmla="*/ 89 w 102"/>
                  <a:gd name="T31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2" h="33">
                    <a:moveTo>
                      <a:pt x="89" y="33"/>
                    </a:moveTo>
                    <a:cubicBezTo>
                      <a:pt x="77" y="33"/>
                      <a:pt x="67" y="28"/>
                      <a:pt x="59" y="16"/>
                    </a:cubicBezTo>
                    <a:cubicBezTo>
                      <a:pt x="51" y="25"/>
                      <a:pt x="35" y="32"/>
                      <a:pt x="21" y="32"/>
                    </a:cubicBezTo>
                    <a:cubicBezTo>
                      <a:pt x="14" y="32"/>
                      <a:pt x="7" y="31"/>
                      <a:pt x="0" y="27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9" y="23"/>
                      <a:pt x="15" y="24"/>
                      <a:pt x="21" y="24"/>
                    </a:cubicBezTo>
                    <a:cubicBezTo>
                      <a:pt x="35" y="24"/>
                      <a:pt x="51" y="16"/>
                      <a:pt x="56" y="7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72" y="22"/>
                      <a:pt x="81" y="27"/>
                      <a:pt x="96" y="24"/>
                    </a:cubicBezTo>
                    <a:cubicBezTo>
                      <a:pt x="98" y="24"/>
                      <a:pt x="99" y="24"/>
                      <a:pt x="100" y="24"/>
                    </a:cubicBezTo>
                    <a:cubicBezTo>
                      <a:pt x="100" y="24"/>
                      <a:pt x="101" y="24"/>
                      <a:pt x="101" y="24"/>
                    </a:cubicBezTo>
                    <a:cubicBezTo>
                      <a:pt x="102" y="32"/>
                      <a:pt x="102" y="32"/>
                      <a:pt x="102" y="32"/>
                    </a:cubicBezTo>
                    <a:cubicBezTo>
                      <a:pt x="101" y="32"/>
                      <a:pt x="101" y="32"/>
                      <a:pt x="100" y="32"/>
                    </a:cubicBezTo>
                    <a:cubicBezTo>
                      <a:pt x="99" y="32"/>
                      <a:pt x="99" y="32"/>
                      <a:pt x="98" y="32"/>
                    </a:cubicBezTo>
                    <a:cubicBezTo>
                      <a:pt x="95" y="33"/>
                      <a:pt x="92" y="33"/>
                      <a:pt x="89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00" name="Gruppieren 101">
            <a:extLst>
              <a:ext uri="{FF2B5EF4-FFF2-40B4-BE49-F238E27FC236}">
                <a16:creationId xmlns:a16="http://schemas.microsoft.com/office/drawing/2014/main" id="{77CDBEE4-F162-11C2-0BB0-58F1CDB9C94B}"/>
              </a:ext>
            </a:extLst>
          </p:cNvPr>
          <p:cNvGrpSpPr>
            <a:grpSpLocks/>
          </p:cNvGrpSpPr>
          <p:nvPr/>
        </p:nvGrpSpPr>
        <p:grpSpPr bwMode="gray">
          <a:xfrm>
            <a:off x="7635843" y="2779160"/>
            <a:ext cx="218785" cy="1078966"/>
            <a:chOff x="7547118" y="3160877"/>
            <a:chExt cx="204116" cy="1006626"/>
          </a:xfrm>
          <a:solidFill>
            <a:schemeClr val="accent6"/>
          </a:solidFill>
        </p:grpSpPr>
        <p:grpSp>
          <p:nvGrpSpPr>
            <p:cNvPr id="101" name="Gruppieren 102">
              <a:extLst>
                <a:ext uri="{FF2B5EF4-FFF2-40B4-BE49-F238E27FC236}">
                  <a16:creationId xmlns:a16="http://schemas.microsoft.com/office/drawing/2014/main" id="{7ED0549D-EA2B-124B-C831-C67E9FB0D9E3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547118" y="3160877"/>
              <a:ext cx="204116" cy="214859"/>
              <a:chOff x="1897064" y="5099050"/>
              <a:chExt cx="301625" cy="317500"/>
            </a:xfrm>
            <a:grpFill/>
          </p:grpSpPr>
          <p:sp>
            <p:nvSpPr>
              <p:cNvPr id="114" name="Freeform 579">
                <a:extLst>
                  <a:ext uri="{FF2B5EF4-FFF2-40B4-BE49-F238E27FC236}">
                    <a16:creationId xmlns:a16="http://schemas.microsoft.com/office/drawing/2014/main" id="{BBD81966-78BF-A61E-F51F-0B1AC98785B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97064" y="5273675"/>
                <a:ext cx="301625" cy="142875"/>
              </a:xfrm>
              <a:custGeom>
                <a:avLst/>
                <a:gdLst>
                  <a:gd name="T0" fmla="*/ 200 w 200"/>
                  <a:gd name="T1" fmla="*/ 95 h 95"/>
                  <a:gd name="T2" fmla="*/ 0 w 200"/>
                  <a:gd name="T3" fmla="*/ 95 h 95"/>
                  <a:gd name="T4" fmla="*/ 0 w 200"/>
                  <a:gd name="T5" fmla="*/ 75 h 95"/>
                  <a:gd name="T6" fmla="*/ 23 w 200"/>
                  <a:gd name="T7" fmla="*/ 42 h 95"/>
                  <a:gd name="T8" fmla="*/ 72 w 200"/>
                  <a:gd name="T9" fmla="*/ 24 h 95"/>
                  <a:gd name="T10" fmla="*/ 72 w 200"/>
                  <a:gd name="T11" fmla="*/ 2 h 95"/>
                  <a:gd name="T12" fmla="*/ 80 w 200"/>
                  <a:gd name="T13" fmla="*/ 2 h 95"/>
                  <a:gd name="T14" fmla="*/ 80 w 200"/>
                  <a:gd name="T15" fmla="*/ 30 h 95"/>
                  <a:gd name="T16" fmla="*/ 26 w 200"/>
                  <a:gd name="T17" fmla="*/ 50 h 95"/>
                  <a:gd name="T18" fmla="*/ 8 w 200"/>
                  <a:gd name="T19" fmla="*/ 75 h 95"/>
                  <a:gd name="T20" fmla="*/ 8 w 200"/>
                  <a:gd name="T21" fmla="*/ 87 h 95"/>
                  <a:gd name="T22" fmla="*/ 192 w 200"/>
                  <a:gd name="T23" fmla="*/ 87 h 95"/>
                  <a:gd name="T24" fmla="*/ 192 w 200"/>
                  <a:gd name="T25" fmla="*/ 75 h 95"/>
                  <a:gd name="T26" fmla="*/ 174 w 200"/>
                  <a:gd name="T27" fmla="*/ 50 h 95"/>
                  <a:gd name="T28" fmla="*/ 120 w 200"/>
                  <a:gd name="T29" fmla="*/ 30 h 95"/>
                  <a:gd name="T30" fmla="*/ 120 w 200"/>
                  <a:gd name="T31" fmla="*/ 0 h 95"/>
                  <a:gd name="T32" fmla="*/ 128 w 200"/>
                  <a:gd name="T33" fmla="*/ 0 h 95"/>
                  <a:gd name="T34" fmla="*/ 128 w 200"/>
                  <a:gd name="T35" fmla="*/ 24 h 95"/>
                  <a:gd name="T36" fmla="*/ 177 w 200"/>
                  <a:gd name="T37" fmla="*/ 42 h 95"/>
                  <a:gd name="T38" fmla="*/ 200 w 200"/>
                  <a:gd name="T39" fmla="*/ 75 h 95"/>
                  <a:gd name="T40" fmla="*/ 200 w 200"/>
                  <a:gd name="T41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0" h="95">
                    <a:moveTo>
                      <a:pt x="200" y="95"/>
                    </a:moveTo>
                    <a:cubicBezTo>
                      <a:pt x="0" y="95"/>
                      <a:pt x="0" y="95"/>
                      <a:pt x="0" y="9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60"/>
                      <a:pt x="9" y="47"/>
                      <a:pt x="23" y="42"/>
                    </a:cubicBezTo>
                    <a:cubicBezTo>
                      <a:pt x="72" y="24"/>
                      <a:pt x="72" y="24"/>
                      <a:pt x="72" y="24"/>
                    </a:cubicBezTo>
                    <a:cubicBezTo>
                      <a:pt x="72" y="2"/>
                      <a:pt x="72" y="2"/>
                      <a:pt x="72" y="2"/>
                    </a:cubicBezTo>
                    <a:cubicBezTo>
                      <a:pt x="80" y="2"/>
                      <a:pt x="80" y="2"/>
                      <a:pt x="80" y="2"/>
                    </a:cubicBezTo>
                    <a:cubicBezTo>
                      <a:pt x="80" y="30"/>
                      <a:pt x="80" y="30"/>
                      <a:pt x="80" y="30"/>
                    </a:cubicBezTo>
                    <a:cubicBezTo>
                      <a:pt x="26" y="50"/>
                      <a:pt x="26" y="50"/>
                      <a:pt x="26" y="50"/>
                    </a:cubicBezTo>
                    <a:cubicBezTo>
                      <a:pt x="15" y="54"/>
                      <a:pt x="8" y="64"/>
                      <a:pt x="8" y="75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192" y="87"/>
                      <a:pt x="192" y="87"/>
                      <a:pt x="192" y="87"/>
                    </a:cubicBezTo>
                    <a:cubicBezTo>
                      <a:pt x="192" y="75"/>
                      <a:pt x="192" y="75"/>
                      <a:pt x="192" y="75"/>
                    </a:cubicBezTo>
                    <a:cubicBezTo>
                      <a:pt x="192" y="64"/>
                      <a:pt x="185" y="54"/>
                      <a:pt x="174" y="50"/>
                    </a:cubicBezTo>
                    <a:cubicBezTo>
                      <a:pt x="120" y="30"/>
                      <a:pt x="120" y="30"/>
                      <a:pt x="120" y="3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28" y="24"/>
                      <a:pt x="128" y="24"/>
                      <a:pt x="128" y="24"/>
                    </a:cubicBezTo>
                    <a:cubicBezTo>
                      <a:pt x="177" y="42"/>
                      <a:pt x="177" y="42"/>
                      <a:pt x="177" y="42"/>
                    </a:cubicBezTo>
                    <a:cubicBezTo>
                      <a:pt x="191" y="47"/>
                      <a:pt x="200" y="60"/>
                      <a:pt x="200" y="75"/>
                    </a:cubicBezTo>
                    <a:lnTo>
                      <a:pt x="20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" name="Freeform 580">
                <a:extLst>
                  <a:ext uri="{FF2B5EF4-FFF2-40B4-BE49-F238E27FC236}">
                    <a16:creationId xmlns:a16="http://schemas.microsoft.com/office/drawing/2014/main" id="{C641D08A-2AD0-FBE4-8B44-84F0EAF4DA5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63739" y="5099050"/>
                <a:ext cx="163513" cy="193675"/>
              </a:xfrm>
              <a:custGeom>
                <a:avLst/>
                <a:gdLst>
                  <a:gd name="T0" fmla="*/ 55 w 109"/>
                  <a:gd name="T1" fmla="*/ 129 h 129"/>
                  <a:gd name="T2" fmla="*/ 0 w 109"/>
                  <a:gd name="T3" fmla="*/ 64 h 129"/>
                  <a:gd name="T4" fmla="*/ 55 w 109"/>
                  <a:gd name="T5" fmla="*/ 0 h 129"/>
                  <a:gd name="T6" fmla="*/ 109 w 109"/>
                  <a:gd name="T7" fmla="*/ 64 h 129"/>
                  <a:gd name="T8" fmla="*/ 55 w 109"/>
                  <a:gd name="T9" fmla="*/ 129 h 129"/>
                  <a:gd name="T10" fmla="*/ 55 w 109"/>
                  <a:gd name="T11" fmla="*/ 8 h 129"/>
                  <a:gd name="T12" fmla="*/ 8 w 109"/>
                  <a:gd name="T13" fmla="*/ 64 h 129"/>
                  <a:gd name="T14" fmla="*/ 55 w 109"/>
                  <a:gd name="T15" fmla="*/ 121 h 129"/>
                  <a:gd name="T16" fmla="*/ 101 w 109"/>
                  <a:gd name="T17" fmla="*/ 64 h 129"/>
                  <a:gd name="T18" fmla="*/ 55 w 109"/>
                  <a:gd name="T19" fmla="*/ 8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129">
                    <a:moveTo>
                      <a:pt x="55" y="129"/>
                    </a:moveTo>
                    <a:cubicBezTo>
                      <a:pt x="25" y="129"/>
                      <a:pt x="0" y="100"/>
                      <a:pt x="0" y="64"/>
                    </a:cubicBezTo>
                    <a:cubicBezTo>
                      <a:pt x="0" y="29"/>
                      <a:pt x="25" y="0"/>
                      <a:pt x="55" y="0"/>
                    </a:cubicBezTo>
                    <a:cubicBezTo>
                      <a:pt x="85" y="0"/>
                      <a:pt x="109" y="29"/>
                      <a:pt x="109" y="64"/>
                    </a:cubicBezTo>
                    <a:cubicBezTo>
                      <a:pt x="109" y="100"/>
                      <a:pt x="85" y="129"/>
                      <a:pt x="55" y="129"/>
                    </a:cubicBezTo>
                    <a:close/>
                    <a:moveTo>
                      <a:pt x="55" y="8"/>
                    </a:moveTo>
                    <a:cubicBezTo>
                      <a:pt x="29" y="8"/>
                      <a:pt x="8" y="33"/>
                      <a:pt x="8" y="64"/>
                    </a:cubicBezTo>
                    <a:cubicBezTo>
                      <a:pt x="8" y="96"/>
                      <a:pt x="29" y="121"/>
                      <a:pt x="55" y="121"/>
                    </a:cubicBezTo>
                    <a:cubicBezTo>
                      <a:pt x="80" y="121"/>
                      <a:pt x="101" y="96"/>
                      <a:pt x="101" y="64"/>
                    </a:cubicBezTo>
                    <a:cubicBezTo>
                      <a:pt x="101" y="33"/>
                      <a:pt x="80" y="8"/>
                      <a:pt x="55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" name="Freeform 581">
                <a:extLst>
                  <a:ext uri="{FF2B5EF4-FFF2-40B4-BE49-F238E27FC236}">
                    <a16:creationId xmlns:a16="http://schemas.microsoft.com/office/drawing/2014/main" id="{6580AF55-FF7B-1F6F-CC00-2D19B1B6708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68501" y="5145088"/>
                <a:ext cx="153988" cy="49213"/>
              </a:xfrm>
              <a:custGeom>
                <a:avLst/>
                <a:gdLst>
                  <a:gd name="T0" fmla="*/ 89 w 102"/>
                  <a:gd name="T1" fmla="*/ 33 h 33"/>
                  <a:gd name="T2" fmla="*/ 59 w 102"/>
                  <a:gd name="T3" fmla="*/ 16 h 33"/>
                  <a:gd name="T4" fmla="*/ 21 w 102"/>
                  <a:gd name="T5" fmla="*/ 32 h 33"/>
                  <a:gd name="T6" fmla="*/ 0 w 102"/>
                  <a:gd name="T7" fmla="*/ 27 h 33"/>
                  <a:gd name="T8" fmla="*/ 4 w 102"/>
                  <a:gd name="T9" fmla="*/ 20 h 33"/>
                  <a:gd name="T10" fmla="*/ 21 w 102"/>
                  <a:gd name="T11" fmla="*/ 24 h 33"/>
                  <a:gd name="T12" fmla="*/ 56 w 102"/>
                  <a:gd name="T13" fmla="*/ 7 h 33"/>
                  <a:gd name="T14" fmla="*/ 59 w 102"/>
                  <a:gd name="T15" fmla="*/ 0 h 33"/>
                  <a:gd name="T16" fmla="*/ 63 w 102"/>
                  <a:gd name="T17" fmla="*/ 7 h 33"/>
                  <a:gd name="T18" fmla="*/ 96 w 102"/>
                  <a:gd name="T19" fmla="*/ 24 h 33"/>
                  <a:gd name="T20" fmla="*/ 100 w 102"/>
                  <a:gd name="T21" fmla="*/ 24 h 33"/>
                  <a:gd name="T22" fmla="*/ 101 w 102"/>
                  <a:gd name="T23" fmla="*/ 24 h 33"/>
                  <a:gd name="T24" fmla="*/ 102 w 102"/>
                  <a:gd name="T25" fmla="*/ 32 h 33"/>
                  <a:gd name="T26" fmla="*/ 100 w 102"/>
                  <a:gd name="T27" fmla="*/ 32 h 33"/>
                  <a:gd name="T28" fmla="*/ 98 w 102"/>
                  <a:gd name="T29" fmla="*/ 32 h 33"/>
                  <a:gd name="T30" fmla="*/ 89 w 102"/>
                  <a:gd name="T31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2" h="33">
                    <a:moveTo>
                      <a:pt x="89" y="33"/>
                    </a:moveTo>
                    <a:cubicBezTo>
                      <a:pt x="77" y="33"/>
                      <a:pt x="67" y="28"/>
                      <a:pt x="59" y="16"/>
                    </a:cubicBezTo>
                    <a:cubicBezTo>
                      <a:pt x="51" y="25"/>
                      <a:pt x="35" y="32"/>
                      <a:pt x="21" y="32"/>
                    </a:cubicBezTo>
                    <a:cubicBezTo>
                      <a:pt x="14" y="32"/>
                      <a:pt x="7" y="31"/>
                      <a:pt x="0" y="27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9" y="23"/>
                      <a:pt x="15" y="24"/>
                      <a:pt x="21" y="24"/>
                    </a:cubicBezTo>
                    <a:cubicBezTo>
                      <a:pt x="35" y="24"/>
                      <a:pt x="51" y="16"/>
                      <a:pt x="56" y="7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72" y="22"/>
                      <a:pt x="81" y="27"/>
                      <a:pt x="96" y="24"/>
                    </a:cubicBezTo>
                    <a:cubicBezTo>
                      <a:pt x="98" y="24"/>
                      <a:pt x="99" y="24"/>
                      <a:pt x="100" y="24"/>
                    </a:cubicBezTo>
                    <a:cubicBezTo>
                      <a:pt x="100" y="24"/>
                      <a:pt x="101" y="24"/>
                      <a:pt x="101" y="24"/>
                    </a:cubicBezTo>
                    <a:cubicBezTo>
                      <a:pt x="102" y="32"/>
                      <a:pt x="102" y="32"/>
                      <a:pt x="102" y="32"/>
                    </a:cubicBezTo>
                    <a:cubicBezTo>
                      <a:pt x="101" y="32"/>
                      <a:pt x="101" y="32"/>
                      <a:pt x="100" y="32"/>
                    </a:cubicBezTo>
                    <a:cubicBezTo>
                      <a:pt x="99" y="32"/>
                      <a:pt x="99" y="32"/>
                      <a:pt x="98" y="32"/>
                    </a:cubicBezTo>
                    <a:cubicBezTo>
                      <a:pt x="95" y="33"/>
                      <a:pt x="92" y="33"/>
                      <a:pt x="89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2" name="Gruppieren 103">
              <a:extLst>
                <a:ext uri="{FF2B5EF4-FFF2-40B4-BE49-F238E27FC236}">
                  <a16:creationId xmlns:a16="http://schemas.microsoft.com/office/drawing/2014/main" id="{029F8DEC-9C7E-B793-04AF-2445969351A2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547118" y="3417896"/>
              <a:ext cx="204116" cy="214859"/>
              <a:chOff x="1897064" y="5099050"/>
              <a:chExt cx="301625" cy="317500"/>
            </a:xfrm>
            <a:grpFill/>
          </p:grpSpPr>
          <p:sp>
            <p:nvSpPr>
              <p:cNvPr id="111" name="Freeform 579">
                <a:extLst>
                  <a:ext uri="{FF2B5EF4-FFF2-40B4-BE49-F238E27FC236}">
                    <a16:creationId xmlns:a16="http://schemas.microsoft.com/office/drawing/2014/main" id="{EF0DB988-178B-E57D-FD14-9E24D9EA374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97064" y="5273675"/>
                <a:ext cx="301625" cy="142875"/>
              </a:xfrm>
              <a:custGeom>
                <a:avLst/>
                <a:gdLst>
                  <a:gd name="T0" fmla="*/ 200 w 200"/>
                  <a:gd name="T1" fmla="*/ 95 h 95"/>
                  <a:gd name="T2" fmla="*/ 0 w 200"/>
                  <a:gd name="T3" fmla="*/ 95 h 95"/>
                  <a:gd name="T4" fmla="*/ 0 w 200"/>
                  <a:gd name="T5" fmla="*/ 75 h 95"/>
                  <a:gd name="T6" fmla="*/ 23 w 200"/>
                  <a:gd name="T7" fmla="*/ 42 h 95"/>
                  <a:gd name="T8" fmla="*/ 72 w 200"/>
                  <a:gd name="T9" fmla="*/ 24 h 95"/>
                  <a:gd name="T10" fmla="*/ 72 w 200"/>
                  <a:gd name="T11" fmla="*/ 2 h 95"/>
                  <a:gd name="T12" fmla="*/ 80 w 200"/>
                  <a:gd name="T13" fmla="*/ 2 h 95"/>
                  <a:gd name="T14" fmla="*/ 80 w 200"/>
                  <a:gd name="T15" fmla="*/ 30 h 95"/>
                  <a:gd name="T16" fmla="*/ 26 w 200"/>
                  <a:gd name="T17" fmla="*/ 50 h 95"/>
                  <a:gd name="T18" fmla="*/ 8 w 200"/>
                  <a:gd name="T19" fmla="*/ 75 h 95"/>
                  <a:gd name="T20" fmla="*/ 8 w 200"/>
                  <a:gd name="T21" fmla="*/ 87 h 95"/>
                  <a:gd name="T22" fmla="*/ 192 w 200"/>
                  <a:gd name="T23" fmla="*/ 87 h 95"/>
                  <a:gd name="T24" fmla="*/ 192 w 200"/>
                  <a:gd name="T25" fmla="*/ 75 h 95"/>
                  <a:gd name="T26" fmla="*/ 174 w 200"/>
                  <a:gd name="T27" fmla="*/ 50 h 95"/>
                  <a:gd name="T28" fmla="*/ 120 w 200"/>
                  <a:gd name="T29" fmla="*/ 30 h 95"/>
                  <a:gd name="T30" fmla="*/ 120 w 200"/>
                  <a:gd name="T31" fmla="*/ 0 h 95"/>
                  <a:gd name="T32" fmla="*/ 128 w 200"/>
                  <a:gd name="T33" fmla="*/ 0 h 95"/>
                  <a:gd name="T34" fmla="*/ 128 w 200"/>
                  <a:gd name="T35" fmla="*/ 24 h 95"/>
                  <a:gd name="T36" fmla="*/ 177 w 200"/>
                  <a:gd name="T37" fmla="*/ 42 h 95"/>
                  <a:gd name="T38" fmla="*/ 200 w 200"/>
                  <a:gd name="T39" fmla="*/ 75 h 95"/>
                  <a:gd name="T40" fmla="*/ 200 w 200"/>
                  <a:gd name="T41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0" h="95">
                    <a:moveTo>
                      <a:pt x="200" y="95"/>
                    </a:moveTo>
                    <a:cubicBezTo>
                      <a:pt x="0" y="95"/>
                      <a:pt x="0" y="95"/>
                      <a:pt x="0" y="9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60"/>
                      <a:pt x="9" y="47"/>
                      <a:pt x="23" y="42"/>
                    </a:cubicBezTo>
                    <a:cubicBezTo>
                      <a:pt x="72" y="24"/>
                      <a:pt x="72" y="24"/>
                      <a:pt x="72" y="24"/>
                    </a:cubicBezTo>
                    <a:cubicBezTo>
                      <a:pt x="72" y="2"/>
                      <a:pt x="72" y="2"/>
                      <a:pt x="72" y="2"/>
                    </a:cubicBezTo>
                    <a:cubicBezTo>
                      <a:pt x="80" y="2"/>
                      <a:pt x="80" y="2"/>
                      <a:pt x="80" y="2"/>
                    </a:cubicBezTo>
                    <a:cubicBezTo>
                      <a:pt x="80" y="30"/>
                      <a:pt x="80" y="30"/>
                      <a:pt x="80" y="30"/>
                    </a:cubicBezTo>
                    <a:cubicBezTo>
                      <a:pt x="26" y="50"/>
                      <a:pt x="26" y="50"/>
                      <a:pt x="26" y="50"/>
                    </a:cubicBezTo>
                    <a:cubicBezTo>
                      <a:pt x="15" y="54"/>
                      <a:pt x="8" y="64"/>
                      <a:pt x="8" y="75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192" y="87"/>
                      <a:pt x="192" y="87"/>
                      <a:pt x="192" y="87"/>
                    </a:cubicBezTo>
                    <a:cubicBezTo>
                      <a:pt x="192" y="75"/>
                      <a:pt x="192" y="75"/>
                      <a:pt x="192" y="75"/>
                    </a:cubicBezTo>
                    <a:cubicBezTo>
                      <a:pt x="192" y="64"/>
                      <a:pt x="185" y="54"/>
                      <a:pt x="174" y="50"/>
                    </a:cubicBezTo>
                    <a:cubicBezTo>
                      <a:pt x="120" y="30"/>
                      <a:pt x="120" y="30"/>
                      <a:pt x="120" y="3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28" y="24"/>
                      <a:pt x="128" y="24"/>
                      <a:pt x="128" y="24"/>
                    </a:cubicBezTo>
                    <a:cubicBezTo>
                      <a:pt x="177" y="42"/>
                      <a:pt x="177" y="42"/>
                      <a:pt x="177" y="42"/>
                    </a:cubicBezTo>
                    <a:cubicBezTo>
                      <a:pt x="191" y="47"/>
                      <a:pt x="200" y="60"/>
                      <a:pt x="200" y="75"/>
                    </a:cubicBezTo>
                    <a:lnTo>
                      <a:pt x="20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2" name="Freeform 580">
                <a:extLst>
                  <a:ext uri="{FF2B5EF4-FFF2-40B4-BE49-F238E27FC236}">
                    <a16:creationId xmlns:a16="http://schemas.microsoft.com/office/drawing/2014/main" id="{B7FC7922-80B5-407A-F158-20BF4CD2551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63739" y="5099050"/>
                <a:ext cx="163513" cy="193675"/>
              </a:xfrm>
              <a:custGeom>
                <a:avLst/>
                <a:gdLst>
                  <a:gd name="T0" fmla="*/ 55 w 109"/>
                  <a:gd name="T1" fmla="*/ 129 h 129"/>
                  <a:gd name="T2" fmla="*/ 0 w 109"/>
                  <a:gd name="T3" fmla="*/ 64 h 129"/>
                  <a:gd name="T4" fmla="*/ 55 w 109"/>
                  <a:gd name="T5" fmla="*/ 0 h 129"/>
                  <a:gd name="T6" fmla="*/ 109 w 109"/>
                  <a:gd name="T7" fmla="*/ 64 h 129"/>
                  <a:gd name="T8" fmla="*/ 55 w 109"/>
                  <a:gd name="T9" fmla="*/ 129 h 129"/>
                  <a:gd name="T10" fmla="*/ 55 w 109"/>
                  <a:gd name="T11" fmla="*/ 8 h 129"/>
                  <a:gd name="T12" fmla="*/ 8 w 109"/>
                  <a:gd name="T13" fmla="*/ 64 h 129"/>
                  <a:gd name="T14" fmla="*/ 55 w 109"/>
                  <a:gd name="T15" fmla="*/ 121 h 129"/>
                  <a:gd name="T16" fmla="*/ 101 w 109"/>
                  <a:gd name="T17" fmla="*/ 64 h 129"/>
                  <a:gd name="T18" fmla="*/ 55 w 109"/>
                  <a:gd name="T19" fmla="*/ 8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129">
                    <a:moveTo>
                      <a:pt x="55" y="129"/>
                    </a:moveTo>
                    <a:cubicBezTo>
                      <a:pt x="25" y="129"/>
                      <a:pt x="0" y="100"/>
                      <a:pt x="0" y="64"/>
                    </a:cubicBezTo>
                    <a:cubicBezTo>
                      <a:pt x="0" y="29"/>
                      <a:pt x="25" y="0"/>
                      <a:pt x="55" y="0"/>
                    </a:cubicBezTo>
                    <a:cubicBezTo>
                      <a:pt x="85" y="0"/>
                      <a:pt x="109" y="29"/>
                      <a:pt x="109" y="64"/>
                    </a:cubicBezTo>
                    <a:cubicBezTo>
                      <a:pt x="109" y="100"/>
                      <a:pt x="85" y="129"/>
                      <a:pt x="55" y="129"/>
                    </a:cubicBezTo>
                    <a:close/>
                    <a:moveTo>
                      <a:pt x="55" y="8"/>
                    </a:moveTo>
                    <a:cubicBezTo>
                      <a:pt x="29" y="8"/>
                      <a:pt x="8" y="33"/>
                      <a:pt x="8" y="64"/>
                    </a:cubicBezTo>
                    <a:cubicBezTo>
                      <a:pt x="8" y="96"/>
                      <a:pt x="29" y="121"/>
                      <a:pt x="55" y="121"/>
                    </a:cubicBezTo>
                    <a:cubicBezTo>
                      <a:pt x="80" y="121"/>
                      <a:pt x="101" y="96"/>
                      <a:pt x="101" y="64"/>
                    </a:cubicBezTo>
                    <a:cubicBezTo>
                      <a:pt x="101" y="33"/>
                      <a:pt x="80" y="8"/>
                      <a:pt x="55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3" name="Freeform 581">
                <a:extLst>
                  <a:ext uri="{FF2B5EF4-FFF2-40B4-BE49-F238E27FC236}">
                    <a16:creationId xmlns:a16="http://schemas.microsoft.com/office/drawing/2014/main" id="{D810F798-9EED-D38B-3E65-9595BFB768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68501" y="5145088"/>
                <a:ext cx="153988" cy="49213"/>
              </a:xfrm>
              <a:custGeom>
                <a:avLst/>
                <a:gdLst>
                  <a:gd name="T0" fmla="*/ 89 w 102"/>
                  <a:gd name="T1" fmla="*/ 33 h 33"/>
                  <a:gd name="T2" fmla="*/ 59 w 102"/>
                  <a:gd name="T3" fmla="*/ 16 h 33"/>
                  <a:gd name="T4" fmla="*/ 21 w 102"/>
                  <a:gd name="T5" fmla="*/ 32 h 33"/>
                  <a:gd name="T6" fmla="*/ 0 w 102"/>
                  <a:gd name="T7" fmla="*/ 27 h 33"/>
                  <a:gd name="T8" fmla="*/ 4 w 102"/>
                  <a:gd name="T9" fmla="*/ 20 h 33"/>
                  <a:gd name="T10" fmla="*/ 21 w 102"/>
                  <a:gd name="T11" fmla="*/ 24 h 33"/>
                  <a:gd name="T12" fmla="*/ 56 w 102"/>
                  <a:gd name="T13" fmla="*/ 7 h 33"/>
                  <a:gd name="T14" fmla="*/ 59 w 102"/>
                  <a:gd name="T15" fmla="*/ 0 h 33"/>
                  <a:gd name="T16" fmla="*/ 63 w 102"/>
                  <a:gd name="T17" fmla="*/ 7 h 33"/>
                  <a:gd name="T18" fmla="*/ 96 w 102"/>
                  <a:gd name="T19" fmla="*/ 24 h 33"/>
                  <a:gd name="T20" fmla="*/ 100 w 102"/>
                  <a:gd name="T21" fmla="*/ 24 h 33"/>
                  <a:gd name="T22" fmla="*/ 101 w 102"/>
                  <a:gd name="T23" fmla="*/ 24 h 33"/>
                  <a:gd name="T24" fmla="*/ 102 w 102"/>
                  <a:gd name="T25" fmla="*/ 32 h 33"/>
                  <a:gd name="T26" fmla="*/ 100 w 102"/>
                  <a:gd name="T27" fmla="*/ 32 h 33"/>
                  <a:gd name="T28" fmla="*/ 98 w 102"/>
                  <a:gd name="T29" fmla="*/ 32 h 33"/>
                  <a:gd name="T30" fmla="*/ 89 w 102"/>
                  <a:gd name="T31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2" h="33">
                    <a:moveTo>
                      <a:pt x="89" y="33"/>
                    </a:moveTo>
                    <a:cubicBezTo>
                      <a:pt x="77" y="33"/>
                      <a:pt x="67" y="28"/>
                      <a:pt x="59" y="16"/>
                    </a:cubicBezTo>
                    <a:cubicBezTo>
                      <a:pt x="51" y="25"/>
                      <a:pt x="35" y="32"/>
                      <a:pt x="21" y="32"/>
                    </a:cubicBezTo>
                    <a:cubicBezTo>
                      <a:pt x="14" y="32"/>
                      <a:pt x="7" y="31"/>
                      <a:pt x="0" y="27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9" y="23"/>
                      <a:pt x="15" y="24"/>
                      <a:pt x="21" y="24"/>
                    </a:cubicBezTo>
                    <a:cubicBezTo>
                      <a:pt x="35" y="24"/>
                      <a:pt x="51" y="16"/>
                      <a:pt x="56" y="7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72" y="22"/>
                      <a:pt x="81" y="27"/>
                      <a:pt x="96" y="24"/>
                    </a:cubicBezTo>
                    <a:cubicBezTo>
                      <a:pt x="98" y="24"/>
                      <a:pt x="99" y="24"/>
                      <a:pt x="100" y="24"/>
                    </a:cubicBezTo>
                    <a:cubicBezTo>
                      <a:pt x="100" y="24"/>
                      <a:pt x="101" y="24"/>
                      <a:pt x="101" y="24"/>
                    </a:cubicBezTo>
                    <a:cubicBezTo>
                      <a:pt x="102" y="32"/>
                      <a:pt x="102" y="32"/>
                      <a:pt x="102" y="32"/>
                    </a:cubicBezTo>
                    <a:cubicBezTo>
                      <a:pt x="101" y="32"/>
                      <a:pt x="101" y="32"/>
                      <a:pt x="100" y="32"/>
                    </a:cubicBezTo>
                    <a:cubicBezTo>
                      <a:pt x="99" y="32"/>
                      <a:pt x="99" y="32"/>
                      <a:pt x="98" y="32"/>
                    </a:cubicBezTo>
                    <a:cubicBezTo>
                      <a:pt x="95" y="33"/>
                      <a:pt x="92" y="33"/>
                      <a:pt x="89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3" name="Gruppieren 104">
              <a:extLst>
                <a:ext uri="{FF2B5EF4-FFF2-40B4-BE49-F238E27FC236}">
                  <a16:creationId xmlns:a16="http://schemas.microsoft.com/office/drawing/2014/main" id="{4562D7E0-F3E1-EFF0-3773-F13879C33B5A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547118" y="3668770"/>
              <a:ext cx="204116" cy="214859"/>
              <a:chOff x="1897064" y="5099050"/>
              <a:chExt cx="301625" cy="317500"/>
            </a:xfrm>
            <a:grpFill/>
          </p:grpSpPr>
          <p:sp>
            <p:nvSpPr>
              <p:cNvPr id="108" name="Freeform 579">
                <a:extLst>
                  <a:ext uri="{FF2B5EF4-FFF2-40B4-BE49-F238E27FC236}">
                    <a16:creationId xmlns:a16="http://schemas.microsoft.com/office/drawing/2014/main" id="{71124A32-407A-3285-27FF-CB8682D0051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97064" y="5273675"/>
                <a:ext cx="301625" cy="142875"/>
              </a:xfrm>
              <a:custGeom>
                <a:avLst/>
                <a:gdLst>
                  <a:gd name="T0" fmla="*/ 200 w 200"/>
                  <a:gd name="T1" fmla="*/ 95 h 95"/>
                  <a:gd name="T2" fmla="*/ 0 w 200"/>
                  <a:gd name="T3" fmla="*/ 95 h 95"/>
                  <a:gd name="T4" fmla="*/ 0 w 200"/>
                  <a:gd name="T5" fmla="*/ 75 h 95"/>
                  <a:gd name="T6" fmla="*/ 23 w 200"/>
                  <a:gd name="T7" fmla="*/ 42 h 95"/>
                  <a:gd name="T8" fmla="*/ 72 w 200"/>
                  <a:gd name="T9" fmla="*/ 24 h 95"/>
                  <a:gd name="T10" fmla="*/ 72 w 200"/>
                  <a:gd name="T11" fmla="*/ 2 h 95"/>
                  <a:gd name="T12" fmla="*/ 80 w 200"/>
                  <a:gd name="T13" fmla="*/ 2 h 95"/>
                  <a:gd name="T14" fmla="*/ 80 w 200"/>
                  <a:gd name="T15" fmla="*/ 30 h 95"/>
                  <a:gd name="T16" fmla="*/ 26 w 200"/>
                  <a:gd name="T17" fmla="*/ 50 h 95"/>
                  <a:gd name="T18" fmla="*/ 8 w 200"/>
                  <a:gd name="T19" fmla="*/ 75 h 95"/>
                  <a:gd name="T20" fmla="*/ 8 w 200"/>
                  <a:gd name="T21" fmla="*/ 87 h 95"/>
                  <a:gd name="T22" fmla="*/ 192 w 200"/>
                  <a:gd name="T23" fmla="*/ 87 h 95"/>
                  <a:gd name="T24" fmla="*/ 192 w 200"/>
                  <a:gd name="T25" fmla="*/ 75 h 95"/>
                  <a:gd name="T26" fmla="*/ 174 w 200"/>
                  <a:gd name="T27" fmla="*/ 50 h 95"/>
                  <a:gd name="T28" fmla="*/ 120 w 200"/>
                  <a:gd name="T29" fmla="*/ 30 h 95"/>
                  <a:gd name="T30" fmla="*/ 120 w 200"/>
                  <a:gd name="T31" fmla="*/ 0 h 95"/>
                  <a:gd name="T32" fmla="*/ 128 w 200"/>
                  <a:gd name="T33" fmla="*/ 0 h 95"/>
                  <a:gd name="T34" fmla="*/ 128 w 200"/>
                  <a:gd name="T35" fmla="*/ 24 h 95"/>
                  <a:gd name="T36" fmla="*/ 177 w 200"/>
                  <a:gd name="T37" fmla="*/ 42 h 95"/>
                  <a:gd name="T38" fmla="*/ 200 w 200"/>
                  <a:gd name="T39" fmla="*/ 75 h 95"/>
                  <a:gd name="T40" fmla="*/ 200 w 200"/>
                  <a:gd name="T41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0" h="95">
                    <a:moveTo>
                      <a:pt x="200" y="95"/>
                    </a:moveTo>
                    <a:cubicBezTo>
                      <a:pt x="0" y="95"/>
                      <a:pt x="0" y="95"/>
                      <a:pt x="0" y="9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60"/>
                      <a:pt x="9" y="47"/>
                      <a:pt x="23" y="42"/>
                    </a:cubicBezTo>
                    <a:cubicBezTo>
                      <a:pt x="72" y="24"/>
                      <a:pt x="72" y="24"/>
                      <a:pt x="72" y="24"/>
                    </a:cubicBezTo>
                    <a:cubicBezTo>
                      <a:pt x="72" y="2"/>
                      <a:pt x="72" y="2"/>
                      <a:pt x="72" y="2"/>
                    </a:cubicBezTo>
                    <a:cubicBezTo>
                      <a:pt x="80" y="2"/>
                      <a:pt x="80" y="2"/>
                      <a:pt x="80" y="2"/>
                    </a:cubicBezTo>
                    <a:cubicBezTo>
                      <a:pt x="80" y="30"/>
                      <a:pt x="80" y="30"/>
                      <a:pt x="80" y="30"/>
                    </a:cubicBezTo>
                    <a:cubicBezTo>
                      <a:pt x="26" y="50"/>
                      <a:pt x="26" y="50"/>
                      <a:pt x="26" y="50"/>
                    </a:cubicBezTo>
                    <a:cubicBezTo>
                      <a:pt x="15" y="54"/>
                      <a:pt x="8" y="64"/>
                      <a:pt x="8" y="75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192" y="87"/>
                      <a:pt x="192" y="87"/>
                      <a:pt x="192" y="87"/>
                    </a:cubicBezTo>
                    <a:cubicBezTo>
                      <a:pt x="192" y="75"/>
                      <a:pt x="192" y="75"/>
                      <a:pt x="192" y="75"/>
                    </a:cubicBezTo>
                    <a:cubicBezTo>
                      <a:pt x="192" y="64"/>
                      <a:pt x="185" y="54"/>
                      <a:pt x="174" y="50"/>
                    </a:cubicBezTo>
                    <a:cubicBezTo>
                      <a:pt x="120" y="30"/>
                      <a:pt x="120" y="30"/>
                      <a:pt x="120" y="3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28" y="24"/>
                      <a:pt x="128" y="24"/>
                      <a:pt x="128" y="24"/>
                    </a:cubicBezTo>
                    <a:cubicBezTo>
                      <a:pt x="177" y="42"/>
                      <a:pt x="177" y="42"/>
                      <a:pt x="177" y="42"/>
                    </a:cubicBezTo>
                    <a:cubicBezTo>
                      <a:pt x="191" y="47"/>
                      <a:pt x="200" y="60"/>
                      <a:pt x="200" y="75"/>
                    </a:cubicBezTo>
                    <a:lnTo>
                      <a:pt x="20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" name="Freeform 580">
                <a:extLst>
                  <a:ext uri="{FF2B5EF4-FFF2-40B4-BE49-F238E27FC236}">
                    <a16:creationId xmlns:a16="http://schemas.microsoft.com/office/drawing/2014/main" id="{1408C11E-EB7C-E504-2285-087BF00E12D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63739" y="5099050"/>
                <a:ext cx="163513" cy="193675"/>
              </a:xfrm>
              <a:custGeom>
                <a:avLst/>
                <a:gdLst>
                  <a:gd name="T0" fmla="*/ 55 w 109"/>
                  <a:gd name="T1" fmla="*/ 129 h 129"/>
                  <a:gd name="T2" fmla="*/ 0 w 109"/>
                  <a:gd name="T3" fmla="*/ 64 h 129"/>
                  <a:gd name="T4" fmla="*/ 55 w 109"/>
                  <a:gd name="T5" fmla="*/ 0 h 129"/>
                  <a:gd name="T6" fmla="*/ 109 w 109"/>
                  <a:gd name="T7" fmla="*/ 64 h 129"/>
                  <a:gd name="T8" fmla="*/ 55 w 109"/>
                  <a:gd name="T9" fmla="*/ 129 h 129"/>
                  <a:gd name="T10" fmla="*/ 55 w 109"/>
                  <a:gd name="T11" fmla="*/ 8 h 129"/>
                  <a:gd name="T12" fmla="*/ 8 w 109"/>
                  <a:gd name="T13" fmla="*/ 64 h 129"/>
                  <a:gd name="T14" fmla="*/ 55 w 109"/>
                  <a:gd name="T15" fmla="*/ 121 h 129"/>
                  <a:gd name="T16" fmla="*/ 101 w 109"/>
                  <a:gd name="T17" fmla="*/ 64 h 129"/>
                  <a:gd name="T18" fmla="*/ 55 w 109"/>
                  <a:gd name="T19" fmla="*/ 8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129">
                    <a:moveTo>
                      <a:pt x="55" y="129"/>
                    </a:moveTo>
                    <a:cubicBezTo>
                      <a:pt x="25" y="129"/>
                      <a:pt x="0" y="100"/>
                      <a:pt x="0" y="64"/>
                    </a:cubicBezTo>
                    <a:cubicBezTo>
                      <a:pt x="0" y="29"/>
                      <a:pt x="25" y="0"/>
                      <a:pt x="55" y="0"/>
                    </a:cubicBezTo>
                    <a:cubicBezTo>
                      <a:pt x="85" y="0"/>
                      <a:pt x="109" y="29"/>
                      <a:pt x="109" y="64"/>
                    </a:cubicBezTo>
                    <a:cubicBezTo>
                      <a:pt x="109" y="100"/>
                      <a:pt x="85" y="129"/>
                      <a:pt x="55" y="129"/>
                    </a:cubicBezTo>
                    <a:close/>
                    <a:moveTo>
                      <a:pt x="55" y="8"/>
                    </a:moveTo>
                    <a:cubicBezTo>
                      <a:pt x="29" y="8"/>
                      <a:pt x="8" y="33"/>
                      <a:pt x="8" y="64"/>
                    </a:cubicBezTo>
                    <a:cubicBezTo>
                      <a:pt x="8" y="96"/>
                      <a:pt x="29" y="121"/>
                      <a:pt x="55" y="121"/>
                    </a:cubicBezTo>
                    <a:cubicBezTo>
                      <a:pt x="80" y="121"/>
                      <a:pt x="101" y="96"/>
                      <a:pt x="101" y="64"/>
                    </a:cubicBezTo>
                    <a:cubicBezTo>
                      <a:pt x="101" y="33"/>
                      <a:pt x="80" y="8"/>
                      <a:pt x="55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" name="Freeform 581">
                <a:extLst>
                  <a:ext uri="{FF2B5EF4-FFF2-40B4-BE49-F238E27FC236}">
                    <a16:creationId xmlns:a16="http://schemas.microsoft.com/office/drawing/2014/main" id="{E866BD8B-460F-83D5-0957-87B0F67B56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68501" y="5145088"/>
                <a:ext cx="153988" cy="49213"/>
              </a:xfrm>
              <a:custGeom>
                <a:avLst/>
                <a:gdLst>
                  <a:gd name="T0" fmla="*/ 89 w 102"/>
                  <a:gd name="T1" fmla="*/ 33 h 33"/>
                  <a:gd name="T2" fmla="*/ 59 w 102"/>
                  <a:gd name="T3" fmla="*/ 16 h 33"/>
                  <a:gd name="T4" fmla="*/ 21 w 102"/>
                  <a:gd name="T5" fmla="*/ 32 h 33"/>
                  <a:gd name="T6" fmla="*/ 0 w 102"/>
                  <a:gd name="T7" fmla="*/ 27 h 33"/>
                  <a:gd name="T8" fmla="*/ 4 w 102"/>
                  <a:gd name="T9" fmla="*/ 20 h 33"/>
                  <a:gd name="T10" fmla="*/ 21 w 102"/>
                  <a:gd name="T11" fmla="*/ 24 h 33"/>
                  <a:gd name="T12" fmla="*/ 56 w 102"/>
                  <a:gd name="T13" fmla="*/ 7 h 33"/>
                  <a:gd name="T14" fmla="*/ 59 w 102"/>
                  <a:gd name="T15" fmla="*/ 0 h 33"/>
                  <a:gd name="T16" fmla="*/ 63 w 102"/>
                  <a:gd name="T17" fmla="*/ 7 h 33"/>
                  <a:gd name="T18" fmla="*/ 96 w 102"/>
                  <a:gd name="T19" fmla="*/ 24 h 33"/>
                  <a:gd name="T20" fmla="*/ 100 w 102"/>
                  <a:gd name="T21" fmla="*/ 24 h 33"/>
                  <a:gd name="T22" fmla="*/ 101 w 102"/>
                  <a:gd name="T23" fmla="*/ 24 h 33"/>
                  <a:gd name="T24" fmla="*/ 102 w 102"/>
                  <a:gd name="T25" fmla="*/ 32 h 33"/>
                  <a:gd name="T26" fmla="*/ 100 w 102"/>
                  <a:gd name="T27" fmla="*/ 32 h 33"/>
                  <a:gd name="T28" fmla="*/ 98 w 102"/>
                  <a:gd name="T29" fmla="*/ 32 h 33"/>
                  <a:gd name="T30" fmla="*/ 89 w 102"/>
                  <a:gd name="T31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2" h="33">
                    <a:moveTo>
                      <a:pt x="89" y="33"/>
                    </a:moveTo>
                    <a:cubicBezTo>
                      <a:pt x="77" y="33"/>
                      <a:pt x="67" y="28"/>
                      <a:pt x="59" y="16"/>
                    </a:cubicBezTo>
                    <a:cubicBezTo>
                      <a:pt x="51" y="25"/>
                      <a:pt x="35" y="32"/>
                      <a:pt x="21" y="32"/>
                    </a:cubicBezTo>
                    <a:cubicBezTo>
                      <a:pt x="14" y="32"/>
                      <a:pt x="7" y="31"/>
                      <a:pt x="0" y="27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9" y="23"/>
                      <a:pt x="15" y="24"/>
                      <a:pt x="21" y="24"/>
                    </a:cubicBezTo>
                    <a:cubicBezTo>
                      <a:pt x="35" y="24"/>
                      <a:pt x="51" y="16"/>
                      <a:pt x="56" y="7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72" y="22"/>
                      <a:pt x="81" y="27"/>
                      <a:pt x="96" y="24"/>
                    </a:cubicBezTo>
                    <a:cubicBezTo>
                      <a:pt x="98" y="24"/>
                      <a:pt x="99" y="24"/>
                      <a:pt x="100" y="24"/>
                    </a:cubicBezTo>
                    <a:cubicBezTo>
                      <a:pt x="100" y="24"/>
                      <a:pt x="101" y="24"/>
                      <a:pt x="101" y="24"/>
                    </a:cubicBezTo>
                    <a:cubicBezTo>
                      <a:pt x="102" y="32"/>
                      <a:pt x="102" y="32"/>
                      <a:pt x="102" y="32"/>
                    </a:cubicBezTo>
                    <a:cubicBezTo>
                      <a:pt x="101" y="32"/>
                      <a:pt x="101" y="32"/>
                      <a:pt x="100" y="32"/>
                    </a:cubicBezTo>
                    <a:cubicBezTo>
                      <a:pt x="99" y="32"/>
                      <a:pt x="99" y="32"/>
                      <a:pt x="98" y="32"/>
                    </a:cubicBezTo>
                    <a:cubicBezTo>
                      <a:pt x="95" y="33"/>
                      <a:pt x="92" y="33"/>
                      <a:pt x="89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4" name="Gruppieren 105">
              <a:extLst>
                <a:ext uri="{FF2B5EF4-FFF2-40B4-BE49-F238E27FC236}">
                  <a16:creationId xmlns:a16="http://schemas.microsoft.com/office/drawing/2014/main" id="{92E5E833-8E5C-DCB3-366A-69972390D3BA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547118" y="3952644"/>
              <a:ext cx="204116" cy="214859"/>
              <a:chOff x="1897064" y="5099050"/>
              <a:chExt cx="301625" cy="317500"/>
            </a:xfrm>
            <a:grpFill/>
          </p:grpSpPr>
          <p:sp>
            <p:nvSpPr>
              <p:cNvPr id="105" name="Freeform 579">
                <a:extLst>
                  <a:ext uri="{FF2B5EF4-FFF2-40B4-BE49-F238E27FC236}">
                    <a16:creationId xmlns:a16="http://schemas.microsoft.com/office/drawing/2014/main" id="{8ADA9ACF-7C1C-6E27-5A88-8A29DE45126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97064" y="5273675"/>
                <a:ext cx="301625" cy="142875"/>
              </a:xfrm>
              <a:custGeom>
                <a:avLst/>
                <a:gdLst>
                  <a:gd name="T0" fmla="*/ 200 w 200"/>
                  <a:gd name="T1" fmla="*/ 95 h 95"/>
                  <a:gd name="T2" fmla="*/ 0 w 200"/>
                  <a:gd name="T3" fmla="*/ 95 h 95"/>
                  <a:gd name="T4" fmla="*/ 0 w 200"/>
                  <a:gd name="T5" fmla="*/ 75 h 95"/>
                  <a:gd name="T6" fmla="*/ 23 w 200"/>
                  <a:gd name="T7" fmla="*/ 42 h 95"/>
                  <a:gd name="T8" fmla="*/ 72 w 200"/>
                  <a:gd name="T9" fmla="*/ 24 h 95"/>
                  <a:gd name="T10" fmla="*/ 72 w 200"/>
                  <a:gd name="T11" fmla="*/ 2 h 95"/>
                  <a:gd name="T12" fmla="*/ 80 w 200"/>
                  <a:gd name="T13" fmla="*/ 2 h 95"/>
                  <a:gd name="T14" fmla="*/ 80 w 200"/>
                  <a:gd name="T15" fmla="*/ 30 h 95"/>
                  <a:gd name="T16" fmla="*/ 26 w 200"/>
                  <a:gd name="T17" fmla="*/ 50 h 95"/>
                  <a:gd name="T18" fmla="*/ 8 w 200"/>
                  <a:gd name="T19" fmla="*/ 75 h 95"/>
                  <a:gd name="T20" fmla="*/ 8 w 200"/>
                  <a:gd name="T21" fmla="*/ 87 h 95"/>
                  <a:gd name="T22" fmla="*/ 192 w 200"/>
                  <a:gd name="T23" fmla="*/ 87 h 95"/>
                  <a:gd name="T24" fmla="*/ 192 w 200"/>
                  <a:gd name="T25" fmla="*/ 75 h 95"/>
                  <a:gd name="T26" fmla="*/ 174 w 200"/>
                  <a:gd name="T27" fmla="*/ 50 h 95"/>
                  <a:gd name="T28" fmla="*/ 120 w 200"/>
                  <a:gd name="T29" fmla="*/ 30 h 95"/>
                  <a:gd name="T30" fmla="*/ 120 w 200"/>
                  <a:gd name="T31" fmla="*/ 0 h 95"/>
                  <a:gd name="T32" fmla="*/ 128 w 200"/>
                  <a:gd name="T33" fmla="*/ 0 h 95"/>
                  <a:gd name="T34" fmla="*/ 128 w 200"/>
                  <a:gd name="T35" fmla="*/ 24 h 95"/>
                  <a:gd name="T36" fmla="*/ 177 w 200"/>
                  <a:gd name="T37" fmla="*/ 42 h 95"/>
                  <a:gd name="T38" fmla="*/ 200 w 200"/>
                  <a:gd name="T39" fmla="*/ 75 h 95"/>
                  <a:gd name="T40" fmla="*/ 200 w 200"/>
                  <a:gd name="T41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0" h="95">
                    <a:moveTo>
                      <a:pt x="200" y="95"/>
                    </a:moveTo>
                    <a:cubicBezTo>
                      <a:pt x="0" y="95"/>
                      <a:pt x="0" y="95"/>
                      <a:pt x="0" y="9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60"/>
                      <a:pt x="9" y="47"/>
                      <a:pt x="23" y="42"/>
                    </a:cubicBezTo>
                    <a:cubicBezTo>
                      <a:pt x="72" y="24"/>
                      <a:pt x="72" y="24"/>
                      <a:pt x="72" y="24"/>
                    </a:cubicBezTo>
                    <a:cubicBezTo>
                      <a:pt x="72" y="2"/>
                      <a:pt x="72" y="2"/>
                      <a:pt x="72" y="2"/>
                    </a:cubicBezTo>
                    <a:cubicBezTo>
                      <a:pt x="80" y="2"/>
                      <a:pt x="80" y="2"/>
                      <a:pt x="80" y="2"/>
                    </a:cubicBezTo>
                    <a:cubicBezTo>
                      <a:pt x="80" y="30"/>
                      <a:pt x="80" y="30"/>
                      <a:pt x="80" y="30"/>
                    </a:cubicBezTo>
                    <a:cubicBezTo>
                      <a:pt x="26" y="50"/>
                      <a:pt x="26" y="50"/>
                      <a:pt x="26" y="50"/>
                    </a:cubicBezTo>
                    <a:cubicBezTo>
                      <a:pt x="15" y="54"/>
                      <a:pt x="8" y="64"/>
                      <a:pt x="8" y="75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192" y="87"/>
                      <a:pt x="192" y="87"/>
                      <a:pt x="192" y="87"/>
                    </a:cubicBezTo>
                    <a:cubicBezTo>
                      <a:pt x="192" y="75"/>
                      <a:pt x="192" y="75"/>
                      <a:pt x="192" y="75"/>
                    </a:cubicBezTo>
                    <a:cubicBezTo>
                      <a:pt x="192" y="64"/>
                      <a:pt x="185" y="54"/>
                      <a:pt x="174" y="50"/>
                    </a:cubicBezTo>
                    <a:cubicBezTo>
                      <a:pt x="120" y="30"/>
                      <a:pt x="120" y="30"/>
                      <a:pt x="120" y="3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28" y="24"/>
                      <a:pt x="128" y="24"/>
                      <a:pt x="128" y="24"/>
                    </a:cubicBezTo>
                    <a:cubicBezTo>
                      <a:pt x="177" y="42"/>
                      <a:pt x="177" y="42"/>
                      <a:pt x="177" y="42"/>
                    </a:cubicBezTo>
                    <a:cubicBezTo>
                      <a:pt x="191" y="47"/>
                      <a:pt x="200" y="60"/>
                      <a:pt x="200" y="75"/>
                    </a:cubicBezTo>
                    <a:lnTo>
                      <a:pt x="20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6" name="Freeform 580">
                <a:extLst>
                  <a:ext uri="{FF2B5EF4-FFF2-40B4-BE49-F238E27FC236}">
                    <a16:creationId xmlns:a16="http://schemas.microsoft.com/office/drawing/2014/main" id="{C10D859E-0725-2985-D4EB-E82C5CBC792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63739" y="5099050"/>
                <a:ext cx="163513" cy="193675"/>
              </a:xfrm>
              <a:custGeom>
                <a:avLst/>
                <a:gdLst>
                  <a:gd name="T0" fmla="*/ 55 w 109"/>
                  <a:gd name="T1" fmla="*/ 129 h 129"/>
                  <a:gd name="T2" fmla="*/ 0 w 109"/>
                  <a:gd name="T3" fmla="*/ 64 h 129"/>
                  <a:gd name="T4" fmla="*/ 55 w 109"/>
                  <a:gd name="T5" fmla="*/ 0 h 129"/>
                  <a:gd name="T6" fmla="*/ 109 w 109"/>
                  <a:gd name="T7" fmla="*/ 64 h 129"/>
                  <a:gd name="T8" fmla="*/ 55 w 109"/>
                  <a:gd name="T9" fmla="*/ 129 h 129"/>
                  <a:gd name="T10" fmla="*/ 55 w 109"/>
                  <a:gd name="T11" fmla="*/ 8 h 129"/>
                  <a:gd name="T12" fmla="*/ 8 w 109"/>
                  <a:gd name="T13" fmla="*/ 64 h 129"/>
                  <a:gd name="T14" fmla="*/ 55 w 109"/>
                  <a:gd name="T15" fmla="*/ 121 h 129"/>
                  <a:gd name="T16" fmla="*/ 101 w 109"/>
                  <a:gd name="T17" fmla="*/ 64 h 129"/>
                  <a:gd name="T18" fmla="*/ 55 w 109"/>
                  <a:gd name="T19" fmla="*/ 8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129">
                    <a:moveTo>
                      <a:pt x="55" y="129"/>
                    </a:moveTo>
                    <a:cubicBezTo>
                      <a:pt x="25" y="129"/>
                      <a:pt x="0" y="100"/>
                      <a:pt x="0" y="64"/>
                    </a:cubicBezTo>
                    <a:cubicBezTo>
                      <a:pt x="0" y="29"/>
                      <a:pt x="25" y="0"/>
                      <a:pt x="55" y="0"/>
                    </a:cubicBezTo>
                    <a:cubicBezTo>
                      <a:pt x="85" y="0"/>
                      <a:pt x="109" y="29"/>
                      <a:pt x="109" y="64"/>
                    </a:cubicBezTo>
                    <a:cubicBezTo>
                      <a:pt x="109" y="100"/>
                      <a:pt x="85" y="129"/>
                      <a:pt x="55" y="129"/>
                    </a:cubicBezTo>
                    <a:close/>
                    <a:moveTo>
                      <a:pt x="55" y="8"/>
                    </a:moveTo>
                    <a:cubicBezTo>
                      <a:pt x="29" y="8"/>
                      <a:pt x="8" y="33"/>
                      <a:pt x="8" y="64"/>
                    </a:cubicBezTo>
                    <a:cubicBezTo>
                      <a:pt x="8" y="96"/>
                      <a:pt x="29" y="121"/>
                      <a:pt x="55" y="121"/>
                    </a:cubicBezTo>
                    <a:cubicBezTo>
                      <a:pt x="80" y="121"/>
                      <a:pt x="101" y="96"/>
                      <a:pt x="101" y="64"/>
                    </a:cubicBezTo>
                    <a:cubicBezTo>
                      <a:pt x="101" y="33"/>
                      <a:pt x="80" y="8"/>
                      <a:pt x="55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" name="Freeform 581">
                <a:extLst>
                  <a:ext uri="{FF2B5EF4-FFF2-40B4-BE49-F238E27FC236}">
                    <a16:creationId xmlns:a16="http://schemas.microsoft.com/office/drawing/2014/main" id="{B8E95DD4-7B27-DDD7-0D2B-86003260B8A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68501" y="5145088"/>
                <a:ext cx="153988" cy="49213"/>
              </a:xfrm>
              <a:custGeom>
                <a:avLst/>
                <a:gdLst>
                  <a:gd name="T0" fmla="*/ 89 w 102"/>
                  <a:gd name="T1" fmla="*/ 33 h 33"/>
                  <a:gd name="T2" fmla="*/ 59 w 102"/>
                  <a:gd name="T3" fmla="*/ 16 h 33"/>
                  <a:gd name="T4" fmla="*/ 21 w 102"/>
                  <a:gd name="T5" fmla="*/ 32 h 33"/>
                  <a:gd name="T6" fmla="*/ 0 w 102"/>
                  <a:gd name="T7" fmla="*/ 27 h 33"/>
                  <a:gd name="T8" fmla="*/ 4 w 102"/>
                  <a:gd name="T9" fmla="*/ 20 h 33"/>
                  <a:gd name="T10" fmla="*/ 21 w 102"/>
                  <a:gd name="T11" fmla="*/ 24 h 33"/>
                  <a:gd name="T12" fmla="*/ 56 w 102"/>
                  <a:gd name="T13" fmla="*/ 7 h 33"/>
                  <a:gd name="T14" fmla="*/ 59 w 102"/>
                  <a:gd name="T15" fmla="*/ 0 h 33"/>
                  <a:gd name="T16" fmla="*/ 63 w 102"/>
                  <a:gd name="T17" fmla="*/ 7 h 33"/>
                  <a:gd name="T18" fmla="*/ 96 w 102"/>
                  <a:gd name="T19" fmla="*/ 24 h 33"/>
                  <a:gd name="T20" fmla="*/ 100 w 102"/>
                  <a:gd name="T21" fmla="*/ 24 h 33"/>
                  <a:gd name="T22" fmla="*/ 101 w 102"/>
                  <a:gd name="T23" fmla="*/ 24 h 33"/>
                  <a:gd name="T24" fmla="*/ 102 w 102"/>
                  <a:gd name="T25" fmla="*/ 32 h 33"/>
                  <a:gd name="T26" fmla="*/ 100 w 102"/>
                  <a:gd name="T27" fmla="*/ 32 h 33"/>
                  <a:gd name="T28" fmla="*/ 98 w 102"/>
                  <a:gd name="T29" fmla="*/ 32 h 33"/>
                  <a:gd name="T30" fmla="*/ 89 w 102"/>
                  <a:gd name="T31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2" h="33">
                    <a:moveTo>
                      <a:pt x="89" y="33"/>
                    </a:moveTo>
                    <a:cubicBezTo>
                      <a:pt x="77" y="33"/>
                      <a:pt x="67" y="28"/>
                      <a:pt x="59" y="16"/>
                    </a:cubicBezTo>
                    <a:cubicBezTo>
                      <a:pt x="51" y="25"/>
                      <a:pt x="35" y="32"/>
                      <a:pt x="21" y="32"/>
                    </a:cubicBezTo>
                    <a:cubicBezTo>
                      <a:pt x="14" y="32"/>
                      <a:pt x="7" y="31"/>
                      <a:pt x="0" y="27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9" y="23"/>
                      <a:pt x="15" y="24"/>
                      <a:pt x="21" y="24"/>
                    </a:cubicBezTo>
                    <a:cubicBezTo>
                      <a:pt x="35" y="24"/>
                      <a:pt x="51" y="16"/>
                      <a:pt x="56" y="7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72" y="22"/>
                      <a:pt x="81" y="27"/>
                      <a:pt x="96" y="24"/>
                    </a:cubicBezTo>
                    <a:cubicBezTo>
                      <a:pt x="98" y="24"/>
                      <a:pt x="99" y="24"/>
                      <a:pt x="100" y="24"/>
                    </a:cubicBezTo>
                    <a:cubicBezTo>
                      <a:pt x="100" y="24"/>
                      <a:pt x="101" y="24"/>
                      <a:pt x="101" y="24"/>
                    </a:cubicBezTo>
                    <a:cubicBezTo>
                      <a:pt x="102" y="32"/>
                      <a:pt x="102" y="32"/>
                      <a:pt x="102" y="32"/>
                    </a:cubicBezTo>
                    <a:cubicBezTo>
                      <a:pt x="101" y="32"/>
                      <a:pt x="101" y="32"/>
                      <a:pt x="100" y="32"/>
                    </a:cubicBezTo>
                    <a:cubicBezTo>
                      <a:pt x="99" y="32"/>
                      <a:pt x="99" y="32"/>
                      <a:pt x="98" y="32"/>
                    </a:cubicBezTo>
                    <a:cubicBezTo>
                      <a:pt x="95" y="33"/>
                      <a:pt x="92" y="33"/>
                      <a:pt x="89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cxnSp>
        <p:nvCxnSpPr>
          <p:cNvPr id="117" name="Gerader Verbinder 118">
            <a:extLst>
              <a:ext uri="{FF2B5EF4-FFF2-40B4-BE49-F238E27FC236}">
                <a16:creationId xmlns:a16="http://schemas.microsoft.com/office/drawing/2014/main" id="{8296C2FC-B791-B8E9-8937-CC63A0B088D7}"/>
              </a:ext>
            </a:extLst>
          </p:cNvPr>
          <p:cNvCxnSpPr>
            <a:cxnSpLocks/>
          </p:cNvCxnSpPr>
          <p:nvPr/>
        </p:nvCxnSpPr>
        <p:spPr bwMode="gray">
          <a:xfrm>
            <a:off x="3184242" y="2567844"/>
            <a:ext cx="0" cy="858808"/>
          </a:xfrm>
          <a:prstGeom prst="line">
            <a:avLst/>
          </a:prstGeom>
          <a:noFill/>
          <a:ln w="9525" cap="rnd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8" name="Gerader Verbinder 119">
            <a:extLst>
              <a:ext uri="{FF2B5EF4-FFF2-40B4-BE49-F238E27FC236}">
                <a16:creationId xmlns:a16="http://schemas.microsoft.com/office/drawing/2014/main" id="{3E5AEBE2-9C88-8532-2CB7-2779E2AC611C}"/>
              </a:ext>
            </a:extLst>
          </p:cNvPr>
          <p:cNvCxnSpPr>
            <a:cxnSpLocks/>
          </p:cNvCxnSpPr>
          <p:nvPr/>
        </p:nvCxnSpPr>
        <p:spPr bwMode="gray">
          <a:xfrm>
            <a:off x="3568550" y="2567845"/>
            <a:ext cx="0" cy="330357"/>
          </a:xfrm>
          <a:prstGeom prst="line">
            <a:avLst/>
          </a:prstGeom>
          <a:noFill/>
          <a:ln w="9525" cap="rnd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119" name="Gruppieren 122">
            <a:extLst>
              <a:ext uri="{FF2B5EF4-FFF2-40B4-BE49-F238E27FC236}">
                <a16:creationId xmlns:a16="http://schemas.microsoft.com/office/drawing/2014/main" id="{079E55A5-0E6E-8517-F2FF-BAC869D6D605}"/>
              </a:ext>
            </a:extLst>
          </p:cNvPr>
          <p:cNvGrpSpPr>
            <a:grpSpLocks/>
          </p:cNvGrpSpPr>
          <p:nvPr/>
        </p:nvGrpSpPr>
        <p:grpSpPr bwMode="gray">
          <a:xfrm>
            <a:off x="651576" y="4643332"/>
            <a:ext cx="174960" cy="174960"/>
            <a:chOff x="1862139" y="6499225"/>
            <a:chExt cx="360363" cy="360363"/>
          </a:xfrm>
          <a:solidFill>
            <a:schemeClr val="accent6"/>
          </a:solidFill>
        </p:grpSpPr>
        <p:sp>
          <p:nvSpPr>
            <p:cNvPr id="120" name="Freeform 582">
              <a:extLst>
                <a:ext uri="{FF2B5EF4-FFF2-40B4-BE49-F238E27FC236}">
                  <a16:creationId xmlns:a16="http://schemas.microsoft.com/office/drawing/2014/main" id="{18DCD11A-A796-82C2-E2E7-789808BDB629}"/>
                </a:ext>
              </a:extLst>
            </p:cNvPr>
            <p:cNvSpPr>
              <a:spLocks/>
            </p:cNvSpPr>
            <p:nvPr/>
          </p:nvSpPr>
          <p:spPr bwMode="gray">
            <a:xfrm>
              <a:off x="1862139" y="6499225"/>
              <a:ext cx="360363" cy="360363"/>
            </a:xfrm>
            <a:custGeom>
              <a:avLst/>
              <a:gdLst>
                <a:gd name="T0" fmla="*/ 100 w 240"/>
                <a:gd name="T1" fmla="*/ 240 h 240"/>
                <a:gd name="T2" fmla="*/ 96 w 240"/>
                <a:gd name="T3" fmla="*/ 206 h 240"/>
                <a:gd name="T4" fmla="*/ 76 w 240"/>
                <a:gd name="T5" fmla="*/ 198 h 240"/>
                <a:gd name="T6" fmla="*/ 49 w 240"/>
                <a:gd name="T7" fmla="*/ 219 h 240"/>
                <a:gd name="T8" fmla="*/ 20 w 240"/>
                <a:gd name="T9" fmla="*/ 188 h 240"/>
                <a:gd name="T10" fmla="*/ 42 w 240"/>
                <a:gd name="T11" fmla="*/ 164 h 240"/>
                <a:gd name="T12" fmla="*/ 4 w 240"/>
                <a:gd name="T13" fmla="*/ 136 h 240"/>
                <a:gd name="T14" fmla="*/ 0 w 240"/>
                <a:gd name="T15" fmla="*/ 100 h 240"/>
                <a:gd name="T16" fmla="*/ 34 w 240"/>
                <a:gd name="T17" fmla="*/ 96 h 240"/>
                <a:gd name="T18" fmla="*/ 21 w 240"/>
                <a:gd name="T19" fmla="*/ 55 h 240"/>
                <a:gd name="T20" fmla="*/ 49 w 240"/>
                <a:gd name="T21" fmla="*/ 21 h 240"/>
                <a:gd name="T22" fmla="*/ 76 w 240"/>
                <a:gd name="T23" fmla="*/ 42 h 240"/>
                <a:gd name="T24" fmla="*/ 96 w 240"/>
                <a:gd name="T25" fmla="*/ 4 h 240"/>
                <a:gd name="T26" fmla="*/ 140 w 240"/>
                <a:gd name="T27" fmla="*/ 0 h 240"/>
                <a:gd name="T28" fmla="*/ 144 w 240"/>
                <a:gd name="T29" fmla="*/ 34 h 240"/>
                <a:gd name="T30" fmla="*/ 185 w 240"/>
                <a:gd name="T31" fmla="*/ 21 h 240"/>
                <a:gd name="T32" fmla="*/ 219 w 240"/>
                <a:gd name="T33" fmla="*/ 49 h 240"/>
                <a:gd name="T34" fmla="*/ 219 w 240"/>
                <a:gd name="T35" fmla="*/ 55 h 240"/>
                <a:gd name="T36" fmla="*/ 206 w 240"/>
                <a:gd name="T37" fmla="*/ 96 h 240"/>
                <a:gd name="T38" fmla="*/ 240 w 240"/>
                <a:gd name="T39" fmla="*/ 100 h 240"/>
                <a:gd name="T40" fmla="*/ 236 w 240"/>
                <a:gd name="T41" fmla="*/ 136 h 240"/>
                <a:gd name="T42" fmla="*/ 198 w 240"/>
                <a:gd name="T43" fmla="*/ 164 h 240"/>
                <a:gd name="T44" fmla="*/ 219 w 240"/>
                <a:gd name="T45" fmla="*/ 191 h 240"/>
                <a:gd name="T46" fmla="*/ 185 w 240"/>
                <a:gd name="T47" fmla="*/ 219 h 240"/>
                <a:gd name="T48" fmla="*/ 149 w 240"/>
                <a:gd name="T49" fmla="*/ 204 h 240"/>
                <a:gd name="T50" fmla="*/ 144 w 240"/>
                <a:gd name="T51" fmla="*/ 236 h 240"/>
                <a:gd name="T52" fmla="*/ 104 w 240"/>
                <a:gd name="T53" fmla="*/ 232 h 240"/>
                <a:gd name="T54" fmla="*/ 136 w 240"/>
                <a:gd name="T55" fmla="*/ 203 h 240"/>
                <a:gd name="T56" fmla="*/ 146 w 240"/>
                <a:gd name="T57" fmla="*/ 196 h 240"/>
                <a:gd name="T58" fmla="*/ 167 w 240"/>
                <a:gd name="T59" fmla="*/ 190 h 240"/>
                <a:gd name="T60" fmla="*/ 211 w 240"/>
                <a:gd name="T61" fmla="*/ 188 h 240"/>
                <a:gd name="T62" fmla="*/ 190 w 240"/>
                <a:gd name="T63" fmla="*/ 163 h 240"/>
                <a:gd name="T64" fmla="*/ 199 w 240"/>
                <a:gd name="T65" fmla="*/ 132 h 240"/>
                <a:gd name="T66" fmla="*/ 232 w 240"/>
                <a:gd name="T67" fmla="*/ 128 h 240"/>
                <a:gd name="T68" fmla="*/ 203 w 240"/>
                <a:gd name="T69" fmla="*/ 104 h 240"/>
                <a:gd name="T70" fmla="*/ 190 w 240"/>
                <a:gd name="T71" fmla="*/ 77 h 240"/>
                <a:gd name="T72" fmla="*/ 211 w 240"/>
                <a:gd name="T73" fmla="*/ 52 h 240"/>
                <a:gd name="T74" fmla="*/ 167 w 240"/>
                <a:gd name="T75" fmla="*/ 50 h 240"/>
                <a:gd name="T76" fmla="*/ 139 w 240"/>
                <a:gd name="T77" fmla="*/ 41 h 240"/>
                <a:gd name="T78" fmla="*/ 136 w 240"/>
                <a:gd name="T79" fmla="*/ 8 h 240"/>
                <a:gd name="T80" fmla="*/ 104 w 240"/>
                <a:gd name="T81" fmla="*/ 37 h 240"/>
                <a:gd name="T82" fmla="*/ 77 w 240"/>
                <a:gd name="T83" fmla="*/ 50 h 240"/>
                <a:gd name="T84" fmla="*/ 52 w 240"/>
                <a:gd name="T85" fmla="*/ 29 h 240"/>
                <a:gd name="T86" fmla="*/ 50 w 240"/>
                <a:gd name="T87" fmla="*/ 73 h 240"/>
                <a:gd name="T88" fmla="*/ 41 w 240"/>
                <a:gd name="T89" fmla="*/ 101 h 240"/>
                <a:gd name="T90" fmla="*/ 8 w 240"/>
                <a:gd name="T91" fmla="*/ 104 h 240"/>
                <a:gd name="T92" fmla="*/ 37 w 240"/>
                <a:gd name="T93" fmla="*/ 128 h 240"/>
                <a:gd name="T94" fmla="*/ 50 w 240"/>
                <a:gd name="T95" fmla="*/ 163 h 240"/>
                <a:gd name="T96" fmla="*/ 29 w 240"/>
                <a:gd name="T97" fmla="*/ 188 h 240"/>
                <a:gd name="T98" fmla="*/ 73 w 240"/>
                <a:gd name="T99" fmla="*/ 190 h 240"/>
                <a:gd name="T100" fmla="*/ 94 w 240"/>
                <a:gd name="T101" fmla="*/ 196 h 240"/>
                <a:gd name="T102" fmla="*/ 104 w 240"/>
                <a:gd name="T103" fmla="*/ 203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40" h="240">
                  <a:moveTo>
                    <a:pt x="140" y="240"/>
                  </a:moveTo>
                  <a:cubicBezTo>
                    <a:pt x="100" y="240"/>
                    <a:pt x="100" y="240"/>
                    <a:pt x="100" y="240"/>
                  </a:cubicBezTo>
                  <a:cubicBezTo>
                    <a:pt x="98" y="240"/>
                    <a:pt x="96" y="238"/>
                    <a:pt x="96" y="236"/>
                  </a:cubicBezTo>
                  <a:cubicBezTo>
                    <a:pt x="96" y="206"/>
                    <a:pt x="96" y="206"/>
                    <a:pt x="96" y="206"/>
                  </a:cubicBezTo>
                  <a:cubicBezTo>
                    <a:pt x="95" y="205"/>
                    <a:pt x="93" y="205"/>
                    <a:pt x="91" y="204"/>
                  </a:cubicBezTo>
                  <a:cubicBezTo>
                    <a:pt x="86" y="202"/>
                    <a:pt x="81" y="200"/>
                    <a:pt x="76" y="198"/>
                  </a:cubicBezTo>
                  <a:cubicBezTo>
                    <a:pt x="55" y="219"/>
                    <a:pt x="55" y="219"/>
                    <a:pt x="55" y="219"/>
                  </a:cubicBezTo>
                  <a:cubicBezTo>
                    <a:pt x="54" y="221"/>
                    <a:pt x="51" y="221"/>
                    <a:pt x="49" y="219"/>
                  </a:cubicBezTo>
                  <a:cubicBezTo>
                    <a:pt x="21" y="191"/>
                    <a:pt x="21" y="191"/>
                    <a:pt x="21" y="191"/>
                  </a:cubicBezTo>
                  <a:cubicBezTo>
                    <a:pt x="20" y="190"/>
                    <a:pt x="20" y="189"/>
                    <a:pt x="20" y="188"/>
                  </a:cubicBezTo>
                  <a:cubicBezTo>
                    <a:pt x="20" y="187"/>
                    <a:pt x="20" y="186"/>
                    <a:pt x="21" y="185"/>
                  </a:cubicBezTo>
                  <a:cubicBezTo>
                    <a:pt x="42" y="164"/>
                    <a:pt x="42" y="164"/>
                    <a:pt x="42" y="164"/>
                  </a:cubicBezTo>
                  <a:cubicBezTo>
                    <a:pt x="38" y="157"/>
                    <a:pt x="35" y="146"/>
                    <a:pt x="33" y="136"/>
                  </a:cubicBezTo>
                  <a:cubicBezTo>
                    <a:pt x="4" y="136"/>
                    <a:pt x="4" y="136"/>
                    <a:pt x="4" y="136"/>
                  </a:cubicBezTo>
                  <a:cubicBezTo>
                    <a:pt x="2" y="136"/>
                    <a:pt x="0" y="134"/>
                    <a:pt x="0" y="132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98"/>
                    <a:pt x="2" y="96"/>
                    <a:pt x="4" y="96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5" y="91"/>
                    <a:pt x="39" y="82"/>
                    <a:pt x="42" y="76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19" y="54"/>
                    <a:pt x="19" y="51"/>
                    <a:pt x="21" y="49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51" y="19"/>
                    <a:pt x="54" y="19"/>
                    <a:pt x="55" y="21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82" y="38"/>
                    <a:pt x="91" y="35"/>
                    <a:pt x="96" y="34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6" y="2"/>
                    <a:pt x="98" y="0"/>
                    <a:pt x="100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2" y="0"/>
                    <a:pt x="144" y="2"/>
                    <a:pt x="144" y="4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9" y="35"/>
                    <a:pt x="158" y="38"/>
                    <a:pt x="164" y="42"/>
                  </a:cubicBezTo>
                  <a:cubicBezTo>
                    <a:pt x="185" y="21"/>
                    <a:pt x="185" y="21"/>
                    <a:pt x="185" y="21"/>
                  </a:cubicBezTo>
                  <a:cubicBezTo>
                    <a:pt x="186" y="19"/>
                    <a:pt x="189" y="19"/>
                    <a:pt x="191" y="21"/>
                  </a:cubicBezTo>
                  <a:cubicBezTo>
                    <a:pt x="219" y="49"/>
                    <a:pt x="219" y="49"/>
                    <a:pt x="219" y="49"/>
                  </a:cubicBezTo>
                  <a:cubicBezTo>
                    <a:pt x="220" y="50"/>
                    <a:pt x="220" y="51"/>
                    <a:pt x="220" y="52"/>
                  </a:cubicBezTo>
                  <a:cubicBezTo>
                    <a:pt x="220" y="53"/>
                    <a:pt x="220" y="54"/>
                    <a:pt x="219" y="55"/>
                  </a:cubicBezTo>
                  <a:cubicBezTo>
                    <a:pt x="198" y="76"/>
                    <a:pt x="198" y="76"/>
                    <a:pt x="198" y="76"/>
                  </a:cubicBezTo>
                  <a:cubicBezTo>
                    <a:pt x="202" y="82"/>
                    <a:pt x="204" y="89"/>
                    <a:pt x="206" y="96"/>
                  </a:cubicBezTo>
                  <a:cubicBezTo>
                    <a:pt x="236" y="96"/>
                    <a:pt x="236" y="96"/>
                    <a:pt x="236" y="96"/>
                  </a:cubicBezTo>
                  <a:cubicBezTo>
                    <a:pt x="238" y="96"/>
                    <a:pt x="240" y="98"/>
                    <a:pt x="240" y="100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40" y="134"/>
                    <a:pt x="238" y="136"/>
                    <a:pt x="236" y="136"/>
                  </a:cubicBezTo>
                  <a:cubicBezTo>
                    <a:pt x="207" y="136"/>
                    <a:pt x="207" y="136"/>
                    <a:pt x="207" y="136"/>
                  </a:cubicBezTo>
                  <a:cubicBezTo>
                    <a:pt x="205" y="152"/>
                    <a:pt x="202" y="158"/>
                    <a:pt x="198" y="164"/>
                  </a:cubicBezTo>
                  <a:cubicBezTo>
                    <a:pt x="219" y="185"/>
                    <a:pt x="219" y="185"/>
                    <a:pt x="219" y="185"/>
                  </a:cubicBezTo>
                  <a:cubicBezTo>
                    <a:pt x="221" y="186"/>
                    <a:pt x="221" y="189"/>
                    <a:pt x="219" y="191"/>
                  </a:cubicBezTo>
                  <a:cubicBezTo>
                    <a:pt x="191" y="219"/>
                    <a:pt x="191" y="219"/>
                    <a:pt x="191" y="219"/>
                  </a:cubicBezTo>
                  <a:cubicBezTo>
                    <a:pt x="189" y="221"/>
                    <a:pt x="186" y="221"/>
                    <a:pt x="185" y="219"/>
                  </a:cubicBezTo>
                  <a:cubicBezTo>
                    <a:pt x="164" y="198"/>
                    <a:pt x="164" y="198"/>
                    <a:pt x="164" y="198"/>
                  </a:cubicBezTo>
                  <a:cubicBezTo>
                    <a:pt x="159" y="200"/>
                    <a:pt x="154" y="202"/>
                    <a:pt x="149" y="204"/>
                  </a:cubicBezTo>
                  <a:cubicBezTo>
                    <a:pt x="147" y="205"/>
                    <a:pt x="145" y="205"/>
                    <a:pt x="144" y="206"/>
                  </a:cubicBezTo>
                  <a:cubicBezTo>
                    <a:pt x="144" y="236"/>
                    <a:pt x="144" y="236"/>
                    <a:pt x="144" y="236"/>
                  </a:cubicBezTo>
                  <a:cubicBezTo>
                    <a:pt x="144" y="238"/>
                    <a:pt x="142" y="240"/>
                    <a:pt x="140" y="240"/>
                  </a:cubicBezTo>
                  <a:close/>
                  <a:moveTo>
                    <a:pt x="104" y="232"/>
                  </a:moveTo>
                  <a:cubicBezTo>
                    <a:pt x="136" y="232"/>
                    <a:pt x="136" y="232"/>
                    <a:pt x="136" y="232"/>
                  </a:cubicBezTo>
                  <a:cubicBezTo>
                    <a:pt x="136" y="203"/>
                    <a:pt x="136" y="203"/>
                    <a:pt x="136" y="203"/>
                  </a:cubicBezTo>
                  <a:cubicBezTo>
                    <a:pt x="136" y="202"/>
                    <a:pt x="137" y="200"/>
                    <a:pt x="138" y="200"/>
                  </a:cubicBezTo>
                  <a:cubicBezTo>
                    <a:pt x="140" y="199"/>
                    <a:pt x="143" y="198"/>
                    <a:pt x="146" y="196"/>
                  </a:cubicBezTo>
                  <a:cubicBezTo>
                    <a:pt x="152" y="195"/>
                    <a:pt x="158" y="192"/>
                    <a:pt x="163" y="190"/>
                  </a:cubicBezTo>
                  <a:cubicBezTo>
                    <a:pt x="164" y="189"/>
                    <a:pt x="166" y="189"/>
                    <a:pt x="167" y="190"/>
                  </a:cubicBezTo>
                  <a:cubicBezTo>
                    <a:pt x="188" y="211"/>
                    <a:pt x="188" y="211"/>
                    <a:pt x="188" y="211"/>
                  </a:cubicBezTo>
                  <a:cubicBezTo>
                    <a:pt x="211" y="188"/>
                    <a:pt x="211" y="188"/>
                    <a:pt x="211" y="188"/>
                  </a:cubicBezTo>
                  <a:cubicBezTo>
                    <a:pt x="190" y="167"/>
                    <a:pt x="190" y="167"/>
                    <a:pt x="190" y="167"/>
                  </a:cubicBezTo>
                  <a:cubicBezTo>
                    <a:pt x="189" y="166"/>
                    <a:pt x="189" y="164"/>
                    <a:pt x="190" y="163"/>
                  </a:cubicBezTo>
                  <a:cubicBezTo>
                    <a:pt x="190" y="162"/>
                    <a:pt x="190" y="162"/>
                    <a:pt x="190" y="162"/>
                  </a:cubicBezTo>
                  <a:cubicBezTo>
                    <a:pt x="194" y="155"/>
                    <a:pt x="197" y="150"/>
                    <a:pt x="199" y="132"/>
                  </a:cubicBezTo>
                  <a:cubicBezTo>
                    <a:pt x="199" y="130"/>
                    <a:pt x="201" y="128"/>
                    <a:pt x="203" y="128"/>
                  </a:cubicBezTo>
                  <a:cubicBezTo>
                    <a:pt x="232" y="128"/>
                    <a:pt x="232" y="128"/>
                    <a:pt x="232" y="128"/>
                  </a:cubicBezTo>
                  <a:cubicBezTo>
                    <a:pt x="232" y="104"/>
                    <a:pt x="232" y="104"/>
                    <a:pt x="232" y="104"/>
                  </a:cubicBezTo>
                  <a:cubicBezTo>
                    <a:pt x="203" y="104"/>
                    <a:pt x="203" y="104"/>
                    <a:pt x="203" y="104"/>
                  </a:cubicBezTo>
                  <a:cubicBezTo>
                    <a:pt x="201" y="104"/>
                    <a:pt x="200" y="103"/>
                    <a:pt x="199" y="101"/>
                  </a:cubicBezTo>
                  <a:cubicBezTo>
                    <a:pt x="197" y="93"/>
                    <a:pt x="194" y="84"/>
                    <a:pt x="190" y="77"/>
                  </a:cubicBezTo>
                  <a:cubicBezTo>
                    <a:pt x="189" y="76"/>
                    <a:pt x="189" y="74"/>
                    <a:pt x="190" y="73"/>
                  </a:cubicBezTo>
                  <a:cubicBezTo>
                    <a:pt x="211" y="52"/>
                    <a:pt x="211" y="52"/>
                    <a:pt x="211" y="52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67" y="50"/>
                    <a:pt x="167" y="50"/>
                    <a:pt x="167" y="50"/>
                  </a:cubicBezTo>
                  <a:cubicBezTo>
                    <a:pt x="166" y="51"/>
                    <a:pt x="164" y="51"/>
                    <a:pt x="163" y="50"/>
                  </a:cubicBezTo>
                  <a:cubicBezTo>
                    <a:pt x="155" y="46"/>
                    <a:pt x="143" y="41"/>
                    <a:pt x="139" y="41"/>
                  </a:cubicBezTo>
                  <a:cubicBezTo>
                    <a:pt x="137" y="40"/>
                    <a:pt x="136" y="39"/>
                    <a:pt x="136" y="37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9"/>
                    <a:pt x="103" y="40"/>
                    <a:pt x="101" y="41"/>
                  </a:cubicBezTo>
                  <a:cubicBezTo>
                    <a:pt x="96" y="42"/>
                    <a:pt x="85" y="46"/>
                    <a:pt x="77" y="50"/>
                  </a:cubicBezTo>
                  <a:cubicBezTo>
                    <a:pt x="76" y="51"/>
                    <a:pt x="74" y="51"/>
                    <a:pt x="73" y="50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1" y="74"/>
                    <a:pt x="51" y="76"/>
                    <a:pt x="50" y="77"/>
                  </a:cubicBezTo>
                  <a:cubicBezTo>
                    <a:pt x="46" y="85"/>
                    <a:pt x="42" y="96"/>
                    <a:pt x="41" y="101"/>
                  </a:cubicBezTo>
                  <a:cubicBezTo>
                    <a:pt x="40" y="103"/>
                    <a:pt x="39" y="104"/>
                    <a:pt x="37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28"/>
                    <a:pt x="8" y="128"/>
                    <a:pt x="8" y="128"/>
                  </a:cubicBezTo>
                  <a:cubicBezTo>
                    <a:pt x="37" y="128"/>
                    <a:pt x="37" y="128"/>
                    <a:pt x="37" y="128"/>
                  </a:cubicBezTo>
                  <a:cubicBezTo>
                    <a:pt x="39" y="128"/>
                    <a:pt x="40" y="129"/>
                    <a:pt x="41" y="131"/>
                  </a:cubicBezTo>
                  <a:cubicBezTo>
                    <a:pt x="42" y="143"/>
                    <a:pt x="46" y="156"/>
                    <a:pt x="50" y="163"/>
                  </a:cubicBezTo>
                  <a:cubicBezTo>
                    <a:pt x="51" y="164"/>
                    <a:pt x="51" y="166"/>
                    <a:pt x="50" y="167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52" y="211"/>
                    <a:pt x="52" y="211"/>
                    <a:pt x="52" y="211"/>
                  </a:cubicBezTo>
                  <a:cubicBezTo>
                    <a:pt x="73" y="190"/>
                    <a:pt x="73" y="190"/>
                    <a:pt x="73" y="190"/>
                  </a:cubicBezTo>
                  <a:cubicBezTo>
                    <a:pt x="74" y="189"/>
                    <a:pt x="76" y="189"/>
                    <a:pt x="77" y="190"/>
                  </a:cubicBezTo>
                  <a:cubicBezTo>
                    <a:pt x="82" y="192"/>
                    <a:pt x="88" y="195"/>
                    <a:pt x="94" y="196"/>
                  </a:cubicBezTo>
                  <a:cubicBezTo>
                    <a:pt x="97" y="198"/>
                    <a:pt x="100" y="199"/>
                    <a:pt x="102" y="200"/>
                  </a:cubicBezTo>
                  <a:cubicBezTo>
                    <a:pt x="103" y="200"/>
                    <a:pt x="104" y="202"/>
                    <a:pt x="104" y="203"/>
                  </a:cubicBezTo>
                  <a:lnTo>
                    <a:pt x="104" y="2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1" name="Freeform 583">
              <a:extLst>
                <a:ext uri="{FF2B5EF4-FFF2-40B4-BE49-F238E27FC236}">
                  <a16:creationId xmlns:a16="http://schemas.microsoft.com/office/drawing/2014/main" id="{C474860E-D72E-60CA-9EE5-4624F4A0814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0089" y="6607175"/>
              <a:ext cx="144463" cy="144463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8 h 96"/>
                <a:gd name="T12" fmla="*/ 8 w 96"/>
                <a:gd name="T13" fmla="*/ 48 h 96"/>
                <a:gd name="T14" fmla="*/ 48 w 96"/>
                <a:gd name="T15" fmla="*/ 88 h 96"/>
                <a:gd name="T16" fmla="*/ 88 w 96"/>
                <a:gd name="T17" fmla="*/ 48 h 96"/>
                <a:gd name="T18" fmla="*/ 48 w 96"/>
                <a:gd name="T19" fmla="*/ 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4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4" y="0"/>
                    <a:pt x="96" y="22"/>
                    <a:pt x="96" y="48"/>
                  </a:cubicBezTo>
                  <a:cubicBezTo>
                    <a:pt x="96" y="74"/>
                    <a:pt x="74" y="96"/>
                    <a:pt x="48" y="96"/>
                  </a:cubicBezTo>
                  <a:close/>
                  <a:moveTo>
                    <a:pt x="48" y="8"/>
                  </a:moveTo>
                  <a:cubicBezTo>
                    <a:pt x="26" y="8"/>
                    <a:pt x="8" y="26"/>
                    <a:pt x="8" y="48"/>
                  </a:cubicBezTo>
                  <a:cubicBezTo>
                    <a:pt x="8" y="70"/>
                    <a:pt x="26" y="88"/>
                    <a:pt x="48" y="88"/>
                  </a:cubicBezTo>
                  <a:cubicBezTo>
                    <a:pt x="70" y="88"/>
                    <a:pt x="88" y="70"/>
                    <a:pt x="88" y="48"/>
                  </a:cubicBezTo>
                  <a:cubicBezTo>
                    <a:pt x="88" y="26"/>
                    <a:pt x="70" y="8"/>
                    <a:pt x="4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2" name="Gruppieren 125">
            <a:extLst>
              <a:ext uri="{FF2B5EF4-FFF2-40B4-BE49-F238E27FC236}">
                <a16:creationId xmlns:a16="http://schemas.microsoft.com/office/drawing/2014/main" id="{08BBDDD1-A1C2-440B-49E0-E51C67F4E9F3}"/>
              </a:ext>
            </a:extLst>
          </p:cNvPr>
          <p:cNvGrpSpPr>
            <a:grpSpLocks/>
          </p:cNvGrpSpPr>
          <p:nvPr/>
        </p:nvGrpSpPr>
        <p:grpSpPr bwMode="gray">
          <a:xfrm>
            <a:off x="903780" y="4643332"/>
            <a:ext cx="174960" cy="174960"/>
            <a:chOff x="1862139" y="6499225"/>
            <a:chExt cx="360363" cy="360363"/>
          </a:xfrm>
          <a:solidFill>
            <a:schemeClr val="accent6"/>
          </a:solidFill>
        </p:grpSpPr>
        <p:sp>
          <p:nvSpPr>
            <p:cNvPr id="123" name="Freeform 582">
              <a:extLst>
                <a:ext uri="{FF2B5EF4-FFF2-40B4-BE49-F238E27FC236}">
                  <a16:creationId xmlns:a16="http://schemas.microsoft.com/office/drawing/2014/main" id="{1F8D1094-A77C-DE8C-C98A-EF47050062CD}"/>
                </a:ext>
              </a:extLst>
            </p:cNvPr>
            <p:cNvSpPr>
              <a:spLocks/>
            </p:cNvSpPr>
            <p:nvPr/>
          </p:nvSpPr>
          <p:spPr bwMode="gray">
            <a:xfrm>
              <a:off x="1862139" y="6499225"/>
              <a:ext cx="360363" cy="360363"/>
            </a:xfrm>
            <a:custGeom>
              <a:avLst/>
              <a:gdLst>
                <a:gd name="T0" fmla="*/ 100 w 240"/>
                <a:gd name="T1" fmla="*/ 240 h 240"/>
                <a:gd name="T2" fmla="*/ 96 w 240"/>
                <a:gd name="T3" fmla="*/ 206 h 240"/>
                <a:gd name="T4" fmla="*/ 76 w 240"/>
                <a:gd name="T5" fmla="*/ 198 h 240"/>
                <a:gd name="T6" fmla="*/ 49 w 240"/>
                <a:gd name="T7" fmla="*/ 219 h 240"/>
                <a:gd name="T8" fmla="*/ 20 w 240"/>
                <a:gd name="T9" fmla="*/ 188 h 240"/>
                <a:gd name="T10" fmla="*/ 42 w 240"/>
                <a:gd name="T11" fmla="*/ 164 h 240"/>
                <a:gd name="T12" fmla="*/ 4 w 240"/>
                <a:gd name="T13" fmla="*/ 136 h 240"/>
                <a:gd name="T14" fmla="*/ 0 w 240"/>
                <a:gd name="T15" fmla="*/ 100 h 240"/>
                <a:gd name="T16" fmla="*/ 34 w 240"/>
                <a:gd name="T17" fmla="*/ 96 h 240"/>
                <a:gd name="T18" fmla="*/ 21 w 240"/>
                <a:gd name="T19" fmla="*/ 55 h 240"/>
                <a:gd name="T20" fmla="*/ 49 w 240"/>
                <a:gd name="T21" fmla="*/ 21 h 240"/>
                <a:gd name="T22" fmla="*/ 76 w 240"/>
                <a:gd name="T23" fmla="*/ 42 h 240"/>
                <a:gd name="T24" fmla="*/ 96 w 240"/>
                <a:gd name="T25" fmla="*/ 4 h 240"/>
                <a:gd name="T26" fmla="*/ 140 w 240"/>
                <a:gd name="T27" fmla="*/ 0 h 240"/>
                <a:gd name="T28" fmla="*/ 144 w 240"/>
                <a:gd name="T29" fmla="*/ 34 h 240"/>
                <a:gd name="T30" fmla="*/ 185 w 240"/>
                <a:gd name="T31" fmla="*/ 21 h 240"/>
                <a:gd name="T32" fmla="*/ 219 w 240"/>
                <a:gd name="T33" fmla="*/ 49 h 240"/>
                <a:gd name="T34" fmla="*/ 219 w 240"/>
                <a:gd name="T35" fmla="*/ 55 h 240"/>
                <a:gd name="T36" fmla="*/ 206 w 240"/>
                <a:gd name="T37" fmla="*/ 96 h 240"/>
                <a:gd name="T38" fmla="*/ 240 w 240"/>
                <a:gd name="T39" fmla="*/ 100 h 240"/>
                <a:gd name="T40" fmla="*/ 236 w 240"/>
                <a:gd name="T41" fmla="*/ 136 h 240"/>
                <a:gd name="T42" fmla="*/ 198 w 240"/>
                <a:gd name="T43" fmla="*/ 164 h 240"/>
                <a:gd name="T44" fmla="*/ 219 w 240"/>
                <a:gd name="T45" fmla="*/ 191 h 240"/>
                <a:gd name="T46" fmla="*/ 185 w 240"/>
                <a:gd name="T47" fmla="*/ 219 h 240"/>
                <a:gd name="T48" fmla="*/ 149 w 240"/>
                <a:gd name="T49" fmla="*/ 204 h 240"/>
                <a:gd name="T50" fmla="*/ 144 w 240"/>
                <a:gd name="T51" fmla="*/ 236 h 240"/>
                <a:gd name="T52" fmla="*/ 104 w 240"/>
                <a:gd name="T53" fmla="*/ 232 h 240"/>
                <a:gd name="T54" fmla="*/ 136 w 240"/>
                <a:gd name="T55" fmla="*/ 203 h 240"/>
                <a:gd name="T56" fmla="*/ 146 w 240"/>
                <a:gd name="T57" fmla="*/ 196 h 240"/>
                <a:gd name="T58" fmla="*/ 167 w 240"/>
                <a:gd name="T59" fmla="*/ 190 h 240"/>
                <a:gd name="T60" fmla="*/ 211 w 240"/>
                <a:gd name="T61" fmla="*/ 188 h 240"/>
                <a:gd name="T62" fmla="*/ 190 w 240"/>
                <a:gd name="T63" fmla="*/ 163 h 240"/>
                <a:gd name="T64" fmla="*/ 199 w 240"/>
                <a:gd name="T65" fmla="*/ 132 h 240"/>
                <a:gd name="T66" fmla="*/ 232 w 240"/>
                <a:gd name="T67" fmla="*/ 128 h 240"/>
                <a:gd name="T68" fmla="*/ 203 w 240"/>
                <a:gd name="T69" fmla="*/ 104 h 240"/>
                <a:gd name="T70" fmla="*/ 190 w 240"/>
                <a:gd name="T71" fmla="*/ 77 h 240"/>
                <a:gd name="T72" fmla="*/ 211 w 240"/>
                <a:gd name="T73" fmla="*/ 52 h 240"/>
                <a:gd name="T74" fmla="*/ 167 w 240"/>
                <a:gd name="T75" fmla="*/ 50 h 240"/>
                <a:gd name="T76" fmla="*/ 139 w 240"/>
                <a:gd name="T77" fmla="*/ 41 h 240"/>
                <a:gd name="T78" fmla="*/ 136 w 240"/>
                <a:gd name="T79" fmla="*/ 8 h 240"/>
                <a:gd name="T80" fmla="*/ 104 w 240"/>
                <a:gd name="T81" fmla="*/ 37 h 240"/>
                <a:gd name="T82" fmla="*/ 77 w 240"/>
                <a:gd name="T83" fmla="*/ 50 h 240"/>
                <a:gd name="T84" fmla="*/ 52 w 240"/>
                <a:gd name="T85" fmla="*/ 29 h 240"/>
                <a:gd name="T86" fmla="*/ 50 w 240"/>
                <a:gd name="T87" fmla="*/ 73 h 240"/>
                <a:gd name="T88" fmla="*/ 41 w 240"/>
                <a:gd name="T89" fmla="*/ 101 h 240"/>
                <a:gd name="T90" fmla="*/ 8 w 240"/>
                <a:gd name="T91" fmla="*/ 104 h 240"/>
                <a:gd name="T92" fmla="*/ 37 w 240"/>
                <a:gd name="T93" fmla="*/ 128 h 240"/>
                <a:gd name="T94" fmla="*/ 50 w 240"/>
                <a:gd name="T95" fmla="*/ 163 h 240"/>
                <a:gd name="T96" fmla="*/ 29 w 240"/>
                <a:gd name="T97" fmla="*/ 188 h 240"/>
                <a:gd name="T98" fmla="*/ 73 w 240"/>
                <a:gd name="T99" fmla="*/ 190 h 240"/>
                <a:gd name="T100" fmla="*/ 94 w 240"/>
                <a:gd name="T101" fmla="*/ 196 h 240"/>
                <a:gd name="T102" fmla="*/ 104 w 240"/>
                <a:gd name="T103" fmla="*/ 203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40" h="240">
                  <a:moveTo>
                    <a:pt x="140" y="240"/>
                  </a:moveTo>
                  <a:cubicBezTo>
                    <a:pt x="100" y="240"/>
                    <a:pt x="100" y="240"/>
                    <a:pt x="100" y="240"/>
                  </a:cubicBezTo>
                  <a:cubicBezTo>
                    <a:pt x="98" y="240"/>
                    <a:pt x="96" y="238"/>
                    <a:pt x="96" y="236"/>
                  </a:cubicBezTo>
                  <a:cubicBezTo>
                    <a:pt x="96" y="206"/>
                    <a:pt x="96" y="206"/>
                    <a:pt x="96" y="206"/>
                  </a:cubicBezTo>
                  <a:cubicBezTo>
                    <a:pt x="95" y="205"/>
                    <a:pt x="93" y="205"/>
                    <a:pt x="91" y="204"/>
                  </a:cubicBezTo>
                  <a:cubicBezTo>
                    <a:pt x="86" y="202"/>
                    <a:pt x="81" y="200"/>
                    <a:pt x="76" y="198"/>
                  </a:cubicBezTo>
                  <a:cubicBezTo>
                    <a:pt x="55" y="219"/>
                    <a:pt x="55" y="219"/>
                    <a:pt x="55" y="219"/>
                  </a:cubicBezTo>
                  <a:cubicBezTo>
                    <a:pt x="54" y="221"/>
                    <a:pt x="51" y="221"/>
                    <a:pt x="49" y="219"/>
                  </a:cubicBezTo>
                  <a:cubicBezTo>
                    <a:pt x="21" y="191"/>
                    <a:pt x="21" y="191"/>
                    <a:pt x="21" y="191"/>
                  </a:cubicBezTo>
                  <a:cubicBezTo>
                    <a:pt x="20" y="190"/>
                    <a:pt x="20" y="189"/>
                    <a:pt x="20" y="188"/>
                  </a:cubicBezTo>
                  <a:cubicBezTo>
                    <a:pt x="20" y="187"/>
                    <a:pt x="20" y="186"/>
                    <a:pt x="21" y="185"/>
                  </a:cubicBezTo>
                  <a:cubicBezTo>
                    <a:pt x="42" y="164"/>
                    <a:pt x="42" y="164"/>
                    <a:pt x="42" y="164"/>
                  </a:cubicBezTo>
                  <a:cubicBezTo>
                    <a:pt x="38" y="157"/>
                    <a:pt x="35" y="146"/>
                    <a:pt x="33" y="136"/>
                  </a:cubicBezTo>
                  <a:cubicBezTo>
                    <a:pt x="4" y="136"/>
                    <a:pt x="4" y="136"/>
                    <a:pt x="4" y="136"/>
                  </a:cubicBezTo>
                  <a:cubicBezTo>
                    <a:pt x="2" y="136"/>
                    <a:pt x="0" y="134"/>
                    <a:pt x="0" y="132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98"/>
                    <a:pt x="2" y="96"/>
                    <a:pt x="4" y="96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5" y="91"/>
                    <a:pt x="39" y="82"/>
                    <a:pt x="42" y="76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19" y="54"/>
                    <a:pt x="19" y="51"/>
                    <a:pt x="21" y="49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51" y="19"/>
                    <a:pt x="54" y="19"/>
                    <a:pt x="55" y="21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82" y="38"/>
                    <a:pt x="91" y="35"/>
                    <a:pt x="96" y="34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6" y="2"/>
                    <a:pt x="98" y="0"/>
                    <a:pt x="100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2" y="0"/>
                    <a:pt x="144" y="2"/>
                    <a:pt x="144" y="4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9" y="35"/>
                    <a:pt x="158" y="38"/>
                    <a:pt x="164" y="42"/>
                  </a:cubicBezTo>
                  <a:cubicBezTo>
                    <a:pt x="185" y="21"/>
                    <a:pt x="185" y="21"/>
                    <a:pt x="185" y="21"/>
                  </a:cubicBezTo>
                  <a:cubicBezTo>
                    <a:pt x="186" y="19"/>
                    <a:pt x="189" y="19"/>
                    <a:pt x="191" y="21"/>
                  </a:cubicBezTo>
                  <a:cubicBezTo>
                    <a:pt x="219" y="49"/>
                    <a:pt x="219" y="49"/>
                    <a:pt x="219" y="49"/>
                  </a:cubicBezTo>
                  <a:cubicBezTo>
                    <a:pt x="220" y="50"/>
                    <a:pt x="220" y="51"/>
                    <a:pt x="220" y="52"/>
                  </a:cubicBezTo>
                  <a:cubicBezTo>
                    <a:pt x="220" y="53"/>
                    <a:pt x="220" y="54"/>
                    <a:pt x="219" y="55"/>
                  </a:cubicBezTo>
                  <a:cubicBezTo>
                    <a:pt x="198" y="76"/>
                    <a:pt x="198" y="76"/>
                    <a:pt x="198" y="76"/>
                  </a:cubicBezTo>
                  <a:cubicBezTo>
                    <a:pt x="202" y="82"/>
                    <a:pt x="204" y="89"/>
                    <a:pt x="206" y="96"/>
                  </a:cubicBezTo>
                  <a:cubicBezTo>
                    <a:pt x="236" y="96"/>
                    <a:pt x="236" y="96"/>
                    <a:pt x="236" y="96"/>
                  </a:cubicBezTo>
                  <a:cubicBezTo>
                    <a:pt x="238" y="96"/>
                    <a:pt x="240" y="98"/>
                    <a:pt x="240" y="100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40" y="134"/>
                    <a:pt x="238" y="136"/>
                    <a:pt x="236" y="136"/>
                  </a:cubicBezTo>
                  <a:cubicBezTo>
                    <a:pt x="207" y="136"/>
                    <a:pt x="207" y="136"/>
                    <a:pt x="207" y="136"/>
                  </a:cubicBezTo>
                  <a:cubicBezTo>
                    <a:pt x="205" y="152"/>
                    <a:pt x="202" y="158"/>
                    <a:pt x="198" y="164"/>
                  </a:cubicBezTo>
                  <a:cubicBezTo>
                    <a:pt x="219" y="185"/>
                    <a:pt x="219" y="185"/>
                    <a:pt x="219" y="185"/>
                  </a:cubicBezTo>
                  <a:cubicBezTo>
                    <a:pt x="221" y="186"/>
                    <a:pt x="221" y="189"/>
                    <a:pt x="219" y="191"/>
                  </a:cubicBezTo>
                  <a:cubicBezTo>
                    <a:pt x="191" y="219"/>
                    <a:pt x="191" y="219"/>
                    <a:pt x="191" y="219"/>
                  </a:cubicBezTo>
                  <a:cubicBezTo>
                    <a:pt x="189" y="221"/>
                    <a:pt x="186" y="221"/>
                    <a:pt x="185" y="219"/>
                  </a:cubicBezTo>
                  <a:cubicBezTo>
                    <a:pt x="164" y="198"/>
                    <a:pt x="164" y="198"/>
                    <a:pt x="164" y="198"/>
                  </a:cubicBezTo>
                  <a:cubicBezTo>
                    <a:pt x="159" y="200"/>
                    <a:pt x="154" y="202"/>
                    <a:pt x="149" y="204"/>
                  </a:cubicBezTo>
                  <a:cubicBezTo>
                    <a:pt x="147" y="205"/>
                    <a:pt x="145" y="205"/>
                    <a:pt x="144" y="206"/>
                  </a:cubicBezTo>
                  <a:cubicBezTo>
                    <a:pt x="144" y="236"/>
                    <a:pt x="144" y="236"/>
                    <a:pt x="144" y="236"/>
                  </a:cubicBezTo>
                  <a:cubicBezTo>
                    <a:pt x="144" y="238"/>
                    <a:pt x="142" y="240"/>
                    <a:pt x="140" y="240"/>
                  </a:cubicBezTo>
                  <a:close/>
                  <a:moveTo>
                    <a:pt x="104" y="232"/>
                  </a:moveTo>
                  <a:cubicBezTo>
                    <a:pt x="136" y="232"/>
                    <a:pt x="136" y="232"/>
                    <a:pt x="136" y="232"/>
                  </a:cubicBezTo>
                  <a:cubicBezTo>
                    <a:pt x="136" y="203"/>
                    <a:pt x="136" y="203"/>
                    <a:pt x="136" y="203"/>
                  </a:cubicBezTo>
                  <a:cubicBezTo>
                    <a:pt x="136" y="202"/>
                    <a:pt x="137" y="200"/>
                    <a:pt x="138" y="200"/>
                  </a:cubicBezTo>
                  <a:cubicBezTo>
                    <a:pt x="140" y="199"/>
                    <a:pt x="143" y="198"/>
                    <a:pt x="146" y="196"/>
                  </a:cubicBezTo>
                  <a:cubicBezTo>
                    <a:pt x="152" y="195"/>
                    <a:pt x="158" y="192"/>
                    <a:pt x="163" y="190"/>
                  </a:cubicBezTo>
                  <a:cubicBezTo>
                    <a:pt x="164" y="189"/>
                    <a:pt x="166" y="189"/>
                    <a:pt x="167" y="190"/>
                  </a:cubicBezTo>
                  <a:cubicBezTo>
                    <a:pt x="188" y="211"/>
                    <a:pt x="188" y="211"/>
                    <a:pt x="188" y="211"/>
                  </a:cubicBezTo>
                  <a:cubicBezTo>
                    <a:pt x="211" y="188"/>
                    <a:pt x="211" y="188"/>
                    <a:pt x="211" y="188"/>
                  </a:cubicBezTo>
                  <a:cubicBezTo>
                    <a:pt x="190" y="167"/>
                    <a:pt x="190" y="167"/>
                    <a:pt x="190" y="167"/>
                  </a:cubicBezTo>
                  <a:cubicBezTo>
                    <a:pt x="189" y="166"/>
                    <a:pt x="189" y="164"/>
                    <a:pt x="190" y="163"/>
                  </a:cubicBezTo>
                  <a:cubicBezTo>
                    <a:pt x="190" y="162"/>
                    <a:pt x="190" y="162"/>
                    <a:pt x="190" y="162"/>
                  </a:cubicBezTo>
                  <a:cubicBezTo>
                    <a:pt x="194" y="155"/>
                    <a:pt x="197" y="150"/>
                    <a:pt x="199" y="132"/>
                  </a:cubicBezTo>
                  <a:cubicBezTo>
                    <a:pt x="199" y="130"/>
                    <a:pt x="201" y="128"/>
                    <a:pt x="203" y="128"/>
                  </a:cubicBezTo>
                  <a:cubicBezTo>
                    <a:pt x="232" y="128"/>
                    <a:pt x="232" y="128"/>
                    <a:pt x="232" y="128"/>
                  </a:cubicBezTo>
                  <a:cubicBezTo>
                    <a:pt x="232" y="104"/>
                    <a:pt x="232" y="104"/>
                    <a:pt x="232" y="104"/>
                  </a:cubicBezTo>
                  <a:cubicBezTo>
                    <a:pt x="203" y="104"/>
                    <a:pt x="203" y="104"/>
                    <a:pt x="203" y="104"/>
                  </a:cubicBezTo>
                  <a:cubicBezTo>
                    <a:pt x="201" y="104"/>
                    <a:pt x="200" y="103"/>
                    <a:pt x="199" y="101"/>
                  </a:cubicBezTo>
                  <a:cubicBezTo>
                    <a:pt x="197" y="93"/>
                    <a:pt x="194" y="84"/>
                    <a:pt x="190" y="77"/>
                  </a:cubicBezTo>
                  <a:cubicBezTo>
                    <a:pt x="189" y="76"/>
                    <a:pt x="189" y="74"/>
                    <a:pt x="190" y="73"/>
                  </a:cubicBezTo>
                  <a:cubicBezTo>
                    <a:pt x="211" y="52"/>
                    <a:pt x="211" y="52"/>
                    <a:pt x="211" y="52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67" y="50"/>
                    <a:pt x="167" y="50"/>
                    <a:pt x="167" y="50"/>
                  </a:cubicBezTo>
                  <a:cubicBezTo>
                    <a:pt x="166" y="51"/>
                    <a:pt x="164" y="51"/>
                    <a:pt x="163" y="50"/>
                  </a:cubicBezTo>
                  <a:cubicBezTo>
                    <a:pt x="155" y="46"/>
                    <a:pt x="143" y="41"/>
                    <a:pt x="139" y="41"/>
                  </a:cubicBezTo>
                  <a:cubicBezTo>
                    <a:pt x="137" y="40"/>
                    <a:pt x="136" y="39"/>
                    <a:pt x="136" y="37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9"/>
                    <a:pt x="103" y="40"/>
                    <a:pt x="101" y="41"/>
                  </a:cubicBezTo>
                  <a:cubicBezTo>
                    <a:pt x="96" y="42"/>
                    <a:pt x="85" y="46"/>
                    <a:pt x="77" y="50"/>
                  </a:cubicBezTo>
                  <a:cubicBezTo>
                    <a:pt x="76" y="51"/>
                    <a:pt x="74" y="51"/>
                    <a:pt x="73" y="50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1" y="74"/>
                    <a:pt x="51" y="76"/>
                    <a:pt x="50" y="77"/>
                  </a:cubicBezTo>
                  <a:cubicBezTo>
                    <a:pt x="46" y="85"/>
                    <a:pt x="42" y="96"/>
                    <a:pt x="41" y="101"/>
                  </a:cubicBezTo>
                  <a:cubicBezTo>
                    <a:pt x="40" y="103"/>
                    <a:pt x="39" y="104"/>
                    <a:pt x="37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28"/>
                    <a:pt x="8" y="128"/>
                    <a:pt x="8" y="128"/>
                  </a:cubicBezTo>
                  <a:cubicBezTo>
                    <a:pt x="37" y="128"/>
                    <a:pt x="37" y="128"/>
                    <a:pt x="37" y="128"/>
                  </a:cubicBezTo>
                  <a:cubicBezTo>
                    <a:pt x="39" y="128"/>
                    <a:pt x="40" y="129"/>
                    <a:pt x="41" y="131"/>
                  </a:cubicBezTo>
                  <a:cubicBezTo>
                    <a:pt x="42" y="143"/>
                    <a:pt x="46" y="156"/>
                    <a:pt x="50" y="163"/>
                  </a:cubicBezTo>
                  <a:cubicBezTo>
                    <a:pt x="51" y="164"/>
                    <a:pt x="51" y="166"/>
                    <a:pt x="50" y="167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52" y="211"/>
                    <a:pt x="52" y="211"/>
                    <a:pt x="52" y="211"/>
                  </a:cubicBezTo>
                  <a:cubicBezTo>
                    <a:pt x="73" y="190"/>
                    <a:pt x="73" y="190"/>
                    <a:pt x="73" y="190"/>
                  </a:cubicBezTo>
                  <a:cubicBezTo>
                    <a:pt x="74" y="189"/>
                    <a:pt x="76" y="189"/>
                    <a:pt x="77" y="190"/>
                  </a:cubicBezTo>
                  <a:cubicBezTo>
                    <a:pt x="82" y="192"/>
                    <a:pt x="88" y="195"/>
                    <a:pt x="94" y="196"/>
                  </a:cubicBezTo>
                  <a:cubicBezTo>
                    <a:pt x="97" y="198"/>
                    <a:pt x="100" y="199"/>
                    <a:pt x="102" y="200"/>
                  </a:cubicBezTo>
                  <a:cubicBezTo>
                    <a:pt x="103" y="200"/>
                    <a:pt x="104" y="202"/>
                    <a:pt x="104" y="203"/>
                  </a:cubicBezTo>
                  <a:lnTo>
                    <a:pt x="104" y="2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4" name="Freeform 583">
              <a:extLst>
                <a:ext uri="{FF2B5EF4-FFF2-40B4-BE49-F238E27FC236}">
                  <a16:creationId xmlns:a16="http://schemas.microsoft.com/office/drawing/2014/main" id="{4331E82F-8914-8AA2-1C92-89FA33341A52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0089" y="6607175"/>
              <a:ext cx="144463" cy="144463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8 h 96"/>
                <a:gd name="T12" fmla="*/ 8 w 96"/>
                <a:gd name="T13" fmla="*/ 48 h 96"/>
                <a:gd name="T14" fmla="*/ 48 w 96"/>
                <a:gd name="T15" fmla="*/ 88 h 96"/>
                <a:gd name="T16" fmla="*/ 88 w 96"/>
                <a:gd name="T17" fmla="*/ 48 h 96"/>
                <a:gd name="T18" fmla="*/ 48 w 96"/>
                <a:gd name="T19" fmla="*/ 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4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4" y="0"/>
                    <a:pt x="96" y="22"/>
                    <a:pt x="96" y="48"/>
                  </a:cubicBezTo>
                  <a:cubicBezTo>
                    <a:pt x="96" y="74"/>
                    <a:pt x="74" y="96"/>
                    <a:pt x="48" y="96"/>
                  </a:cubicBezTo>
                  <a:close/>
                  <a:moveTo>
                    <a:pt x="48" y="8"/>
                  </a:moveTo>
                  <a:cubicBezTo>
                    <a:pt x="26" y="8"/>
                    <a:pt x="8" y="26"/>
                    <a:pt x="8" y="48"/>
                  </a:cubicBezTo>
                  <a:cubicBezTo>
                    <a:pt x="8" y="70"/>
                    <a:pt x="26" y="88"/>
                    <a:pt x="48" y="88"/>
                  </a:cubicBezTo>
                  <a:cubicBezTo>
                    <a:pt x="70" y="88"/>
                    <a:pt x="88" y="70"/>
                    <a:pt x="88" y="48"/>
                  </a:cubicBezTo>
                  <a:cubicBezTo>
                    <a:pt x="88" y="26"/>
                    <a:pt x="70" y="8"/>
                    <a:pt x="4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5" name="Gruppieren 128">
            <a:extLst>
              <a:ext uri="{FF2B5EF4-FFF2-40B4-BE49-F238E27FC236}">
                <a16:creationId xmlns:a16="http://schemas.microsoft.com/office/drawing/2014/main" id="{61C81D20-D799-33A5-19E2-10181691A47F}"/>
              </a:ext>
            </a:extLst>
          </p:cNvPr>
          <p:cNvGrpSpPr>
            <a:grpSpLocks/>
          </p:cNvGrpSpPr>
          <p:nvPr/>
        </p:nvGrpSpPr>
        <p:grpSpPr bwMode="gray">
          <a:xfrm>
            <a:off x="1155982" y="4643332"/>
            <a:ext cx="174960" cy="174960"/>
            <a:chOff x="1862139" y="6499225"/>
            <a:chExt cx="360363" cy="360363"/>
          </a:xfrm>
          <a:solidFill>
            <a:schemeClr val="accent6"/>
          </a:solidFill>
        </p:grpSpPr>
        <p:sp>
          <p:nvSpPr>
            <p:cNvPr id="126" name="Freeform 582">
              <a:extLst>
                <a:ext uri="{FF2B5EF4-FFF2-40B4-BE49-F238E27FC236}">
                  <a16:creationId xmlns:a16="http://schemas.microsoft.com/office/drawing/2014/main" id="{03718554-AC7E-E0D1-5B8E-E2BE671542E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62139" y="6499225"/>
              <a:ext cx="360363" cy="360363"/>
            </a:xfrm>
            <a:custGeom>
              <a:avLst/>
              <a:gdLst>
                <a:gd name="T0" fmla="*/ 100 w 240"/>
                <a:gd name="T1" fmla="*/ 240 h 240"/>
                <a:gd name="T2" fmla="*/ 96 w 240"/>
                <a:gd name="T3" fmla="*/ 206 h 240"/>
                <a:gd name="T4" fmla="*/ 76 w 240"/>
                <a:gd name="T5" fmla="*/ 198 h 240"/>
                <a:gd name="T6" fmla="*/ 49 w 240"/>
                <a:gd name="T7" fmla="*/ 219 h 240"/>
                <a:gd name="T8" fmla="*/ 20 w 240"/>
                <a:gd name="T9" fmla="*/ 188 h 240"/>
                <a:gd name="T10" fmla="*/ 42 w 240"/>
                <a:gd name="T11" fmla="*/ 164 h 240"/>
                <a:gd name="T12" fmla="*/ 4 w 240"/>
                <a:gd name="T13" fmla="*/ 136 h 240"/>
                <a:gd name="T14" fmla="*/ 0 w 240"/>
                <a:gd name="T15" fmla="*/ 100 h 240"/>
                <a:gd name="T16" fmla="*/ 34 w 240"/>
                <a:gd name="T17" fmla="*/ 96 h 240"/>
                <a:gd name="T18" fmla="*/ 21 w 240"/>
                <a:gd name="T19" fmla="*/ 55 h 240"/>
                <a:gd name="T20" fmla="*/ 49 w 240"/>
                <a:gd name="T21" fmla="*/ 21 h 240"/>
                <a:gd name="T22" fmla="*/ 76 w 240"/>
                <a:gd name="T23" fmla="*/ 42 h 240"/>
                <a:gd name="T24" fmla="*/ 96 w 240"/>
                <a:gd name="T25" fmla="*/ 4 h 240"/>
                <a:gd name="T26" fmla="*/ 140 w 240"/>
                <a:gd name="T27" fmla="*/ 0 h 240"/>
                <a:gd name="T28" fmla="*/ 144 w 240"/>
                <a:gd name="T29" fmla="*/ 34 h 240"/>
                <a:gd name="T30" fmla="*/ 185 w 240"/>
                <a:gd name="T31" fmla="*/ 21 h 240"/>
                <a:gd name="T32" fmla="*/ 219 w 240"/>
                <a:gd name="T33" fmla="*/ 49 h 240"/>
                <a:gd name="T34" fmla="*/ 219 w 240"/>
                <a:gd name="T35" fmla="*/ 55 h 240"/>
                <a:gd name="T36" fmla="*/ 206 w 240"/>
                <a:gd name="T37" fmla="*/ 96 h 240"/>
                <a:gd name="T38" fmla="*/ 240 w 240"/>
                <a:gd name="T39" fmla="*/ 100 h 240"/>
                <a:gd name="T40" fmla="*/ 236 w 240"/>
                <a:gd name="T41" fmla="*/ 136 h 240"/>
                <a:gd name="T42" fmla="*/ 198 w 240"/>
                <a:gd name="T43" fmla="*/ 164 h 240"/>
                <a:gd name="T44" fmla="*/ 219 w 240"/>
                <a:gd name="T45" fmla="*/ 191 h 240"/>
                <a:gd name="T46" fmla="*/ 185 w 240"/>
                <a:gd name="T47" fmla="*/ 219 h 240"/>
                <a:gd name="T48" fmla="*/ 149 w 240"/>
                <a:gd name="T49" fmla="*/ 204 h 240"/>
                <a:gd name="T50" fmla="*/ 144 w 240"/>
                <a:gd name="T51" fmla="*/ 236 h 240"/>
                <a:gd name="T52" fmla="*/ 104 w 240"/>
                <a:gd name="T53" fmla="*/ 232 h 240"/>
                <a:gd name="T54" fmla="*/ 136 w 240"/>
                <a:gd name="T55" fmla="*/ 203 h 240"/>
                <a:gd name="T56" fmla="*/ 146 w 240"/>
                <a:gd name="T57" fmla="*/ 196 h 240"/>
                <a:gd name="T58" fmla="*/ 167 w 240"/>
                <a:gd name="T59" fmla="*/ 190 h 240"/>
                <a:gd name="T60" fmla="*/ 211 w 240"/>
                <a:gd name="T61" fmla="*/ 188 h 240"/>
                <a:gd name="T62" fmla="*/ 190 w 240"/>
                <a:gd name="T63" fmla="*/ 163 h 240"/>
                <a:gd name="T64" fmla="*/ 199 w 240"/>
                <a:gd name="T65" fmla="*/ 132 h 240"/>
                <a:gd name="T66" fmla="*/ 232 w 240"/>
                <a:gd name="T67" fmla="*/ 128 h 240"/>
                <a:gd name="T68" fmla="*/ 203 w 240"/>
                <a:gd name="T69" fmla="*/ 104 h 240"/>
                <a:gd name="T70" fmla="*/ 190 w 240"/>
                <a:gd name="T71" fmla="*/ 77 h 240"/>
                <a:gd name="T72" fmla="*/ 211 w 240"/>
                <a:gd name="T73" fmla="*/ 52 h 240"/>
                <a:gd name="T74" fmla="*/ 167 w 240"/>
                <a:gd name="T75" fmla="*/ 50 h 240"/>
                <a:gd name="T76" fmla="*/ 139 w 240"/>
                <a:gd name="T77" fmla="*/ 41 h 240"/>
                <a:gd name="T78" fmla="*/ 136 w 240"/>
                <a:gd name="T79" fmla="*/ 8 h 240"/>
                <a:gd name="T80" fmla="*/ 104 w 240"/>
                <a:gd name="T81" fmla="*/ 37 h 240"/>
                <a:gd name="T82" fmla="*/ 77 w 240"/>
                <a:gd name="T83" fmla="*/ 50 h 240"/>
                <a:gd name="T84" fmla="*/ 52 w 240"/>
                <a:gd name="T85" fmla="*/ 29 h 240"/>
                <a:gd name="T86" fmla="*/ 50 w 240"/>
                <a:gd name="T87" fmla="*/ 73 h 240"/>
                <a:gd name="T88" fmla="*/ 41 w 240"/>
                <a:gd name="T89" fmla="*/ 101 h 240"/>
                <a:gd name="T90" fmla="*/ 8 w 240"/>
                <a:gd name="T91" fmla="*/ 104 h 240"/>
                <a:gd name="T92" fmla="*/ 37 w 240"/>
                <a:gd name="T93" fmla="*/ 128 h 240"/>
                <a:gd name="T94" fmla="*/ 50 w 240"/>
                <a:gd name="T95" fmla="*/ 163 h 240"/>
                <a:gd name="T96" fmla="*/ 29 w 240"/>
                <a:gd name="T97" fmla="*/ 188 h 240"/>
                <a:gd name="T98" fmla="*/ 73 w 240"/>
                <a:gd name="T99" fmla="*/ 190 h 240"/>
                <a:gd name="T100" fmla="*/ 94 w 240"/>
                <a:gd name="T101" fmla="*/ 196 h 240"/>
                <a:gd name="T102" fmla="*/ 104 w 240"/>
                <a:gd name="T103" fmla="*/ 203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40" h="240">
                  <a:moveTo>
                    <a:pt x="140" y="240"/>
                  </a:moveTo>
                  <a:cubicBezTo>
                    <a:pt x="100" y="240"/>
                    <a:pt x="100" y="240"/>
                    <a:pt x="100" y="240"/>
                  </a:cubicBezTo>
                  <a:cubicBezTo>
                    <a:pt x="98" y="240"/>
                    <a:pt x="96" y="238"/>
                    <a:pt x="96" y="236"/>
                  </a:cubicBezTo>
                  <a:cubicBezTo>
                    <a:pt x="96" y="206"/>
                    <a:pt x="96" y="206"/>
                    <a:pt x="96" y="206"/>
                  </a:cubicBezTo>
                  <a:cubicBezTo>
                    <a:pt x="95" y="205"/>
                    <a:pt x="93" y="205"/>
                    <a:pt x="91" y="204"/>
                  </a:cubicBezTo>
                  <a:cubicBezTo>
                    <a:pt x="86" y="202"/>
                    <a:pt x="81" y="200"/>
                    <a:pt x="76" y="198"/>
                  </a:cubicBezTo>
                  <a:cubicBezTo>
                    <a:pt x="55" y="219"/>
                    <a:pt x="55" y="219"/>
                    <a:pt x="55" y="219"/>
                  </a:cubicBezTo>
                  <a:cubicBezTo>
                    <a:pt x="54" y="221"/>
                    <a:pt x="51" y="221"/>
                    <a:pt x="49" y="219"/>
                  </a:cubicBezTo>
                  <a:cubicBezTo>
                    <a:pt x="21" y="191"/>
                    <a:pt x="21" y="191"/>
                    <a:pt x="21" y="191"/>
                  </a:cubicBezTo>
                  <a:cubicBezTo>
                    <a:pt x="20" y="190"/>
                    <a:pt x="20" y="189"/>
                    <a:pt x="20" y="188"/>
                  </a:cubicBezTo>
                  <a:cubicBezTo>
                    <a:pt x="20" y="187"/>
                    <a:pt x="20" y="186"/>
                    <a:pt x="21" y="185"/>
                  </a:cubicBezTo>
                  <a:cubicBezTo>
                    <a:pt x="42" y="164"/>
                    <a:pt x="42" y="164"/>
                    <a:pt x="42" y="164"/>
                  </a:cubicBezTo>
                  <a:cubicBezTo>
                    <a:pt x="38" y="157"/>
                    <a:pt x="35" y="146"/>
                    <a:pt x="33" y="136"/>
                  </a:cubicBezTo>
                  <a:cubicBezTo>
                    <a:pt x="4" y="136"/>
                    <a:pt x="4" y="136"/>
                    <a:pt x="4" y="136"/>
                  </a:cubicBezTo>
                  <a:cubicBezTo>
                    <a:pt x="2" y="136"/>
                    <a:pt x="0" y="134"/>
                    <a:pt x="0" y="132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98"/>
                    <a:pt x="2" y="96"/>
                    <a:pt x="4" y="96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5" y="91"/>
                    <a:pt x="39" y="82"/>
                    <a:pt x="42" y="76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19" y="54"/>
                    <a:pt x="19" y="51"/>
                    <a:pt x="21" y="49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51" y="19"/>
                    <a:pt x="54" y="19"/>
                    <a:pt x="55" y="21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82" y="38"/>
                    <a:pt x="91" y="35"/>
                    <a:pt x="96" y="34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6" y="2"/>
                    <a:pt x="98" y="0"/>
                    <a:pt x="100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2" y="0"/>
                    <a:pt x="144" y="2"/>
                    <a:pt x="144" y="4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9" y="35"/>
                    <a:pt x="158" y="38"/>
                    <a:pt x="164" y="42"/>
                  </a:cubicBezTo>
                  <a:cubicBezTo>
                    <a:pt x="185" y="21"/>
                    <a:pt x="185" y="21"/>
                    <a:pt x="185" y="21"/>
                  </a:cubicBezTo>
                  <a:cubicBezTo>
                    <a:pt x="186" y="19"/>
                    <a:pt x="189" y="19"/>
                    <a:pt x="191" y="21"/>
                  </a:cubicBezTo>
                  <a:cubicBezTo>
                    <a:pt x="219" y="49"/>
                    <a:pt x="219" y="49"/>
                    <a:pt x="219" y="49"/>
                  </a:cubicBezTo>
                  <a:cubicBezTo>
                    <a:pt x="220" y="50"/>
                    <a:pt x="220" y="51"/>
                    <a:pt x="220" y="52"/>
                  </a:cubicBezTo>
                  <a:cubicBezTo>
                    <a:pt x="220" y="53"/>
                    <a:pt x="220" y="54"/>
                    <a:pt x="219" y="55"/>
                  </a:cubicBezTo>
                  <a:cubicBezTo>
                    <a:pt x="198" y="76"/>
                    <a:pt x="198" y="76"/>
                    <a:pt x="198" y="76"/>
                  </a:cubicBezTo>
                  <a:cubicBezTo>
                    <a:pt x="202" y="82"/>
                    <a:pt x="204" y="89"/>
                    <a:pt x="206" y="96"/>
                  </a:cubicBezTo>
                  <a:cubicBezTo>
                    <a:pt x="236" y="96"/>
                    <a:pt x="236" y="96"/>
                    <a:pt x="236" y="96"/>
                  </a:cubicBezTo>
                  <a:cubicBezTo>
                    <a:pt x="238" y="96"/>
                    <a:pt x="240" y="98"/>
                    <a:pt x="240" y="100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40" y="134"/>
                    <a:pt x="238" y="136"/>
                    <a:pt x="236" y="136"/>
                  </a:cubicBezTo>
                  <a:cubicBezTo>
                    <a:pt x="207" y="136"/>
                    <a:pt x="207" y="136"/>
                    <a:pt x="207" y="136"/>
                  </a:cubicBezTo>
                  <a:cubicBezTo>
                    <a:pt x="205" y="152"/>
                    <a:pt x="202" y="158"/>
                    <a:pt x="198" y="164"/>
                  </a:cubicBezTo>
                  <a:cubicBezTo>
                    <a:pt x="219" y="185"/>
                    <a:pt x="219" y="185"/>
                    <a:pt x="219" y="185"/>
                  </a:cubicBezTo>
                  <a:cubicBezTo>
                    <a:pt x="221" y="186"/>
                    <a:pt x="221" y="189"/>
                    <a:pt x="219" y="191"/>
                  </a:cubicBezTo>
                  <a:cubicBezTo>
                    <a:pt x="191" y="219"/>
                    <a:pt x="191" y="219"/>
                    <a:pt x="191" y="219"/>
                  </a:cubicBezTo>
                  <a:cubicBezTo>
                    <a:pt x="189" y="221"/>
                    <a:pt x="186" y="221"/>
                    <a:pt x="185" y="219"/>
                  </a:cubicBezTo>
                  <a:cubicBezTo>
                    <a:pt x="164" y="198"/>
                    <a:pt x="164" y="198"/>
                    <a:pt x="164" y="198"/>
                  </a:cubicBezTo>
                  <a:cubicBezTo>
                    <a:pt x="159" y="200"/>
                    <a:pt x="154" y="202"/>
                    <a:pt x="149" y="204"/>
                  </a:cubicBezTo>
                  <a:cubicBezTo>
                    <a:pt x="147" y="205"/>
                    <a:pt x="145" y="205"/>
                    <a:pt x="144" y="206"/>
                  </a:cubicBezTo>
                  <a:cubicBezTo>
                    <a:pt x="144" y="236"/>
                    <a:pt x="144" y="236"/>
                    <a:pt x="144" y="236"/>
                  </a:cubicBezTo>
                  <a:cubicBezTo>
                    <a:pt x="144" y="238"/>
                    <a:pt x="142" y="240"/>
                    <a:pt x="140" y="240"/>
                  </a:cubicBezTo>
                  <a:close/>
                  <a:moveTo>
                    <a:pt x="104" y="232"/>
                  </a:moveTo>
                  <a:cubicBezTo>
                    <a:pt x="136" y="232"/>
                    <a:pt x="136" y="232"/>
                    <a:pt x="136" y="232"/>
                  </a:cubicBezTo>
                  <a:cubicBezTo>
                    <a:pt x="136" y="203"/>
                    <a:pt x="136" y="203"/>
                    <a:pt x="136" y="203"/>
                  </a:cubicBezTo>
                  <a:cubicBezTo>
                    <a:pt x="136" y="202"/>
                    <a:pt x="137" y="200"/>
                    <a:pt x="138" y="200"/>
                  </a:cubicBezTo>
                  <a:cubicBezTo>
                    <a:pt x="140" y="199"/>
                    <a:pt x="143" y="198"/>
                    <a:pt x="146" y="196"/>
                  </a:cubicBezTo>
                  <a:cubicBezTo>
                    <a:pt x="152" y="195"/>
                    <a:pt x="158" y="192"/>
                    <a:pt x="163" y="190"/>
                  </a:cubicBezTo>
                  <a:cubicBezTo>
                    <a:pt x="164" y="189"/>
                    <a:pt x="166" y="189"/>
                    <a:pt x="167" y="190"/>
                  </a:cubicBezTo>
                  <a:cubicBezTo>
                    <a:pt x="188" y="211"/>
                    <a:pt x="188" y="211"/>
                    <a:pt x="188" y="211"/>
                  </a:cubicBezTo>
                  <a:cubicBezTo>
                    <a:pt x="211" y="188"/>
                    <a:pt x="211" y="188"/>
                    <a:pt x="211" y="188"/>
                  </a:cubicBezTo>
                  <a:cubicBezTo>
                    <a:pt x="190" y="167"/>
                    <a:pt x="190" y="167"/>
                    <a:pt x="190" y="167"/>
                  </a:cubicBezTo>
                  <a:cubicBezTo>
                    <a:pt x="189" y="166"/>
                    <a:pt x="189" y="164"/>
                    <a:pt x="190" y="163"/>
                  </a:cubicBezTo>
                  <a:cubicBezTo>
                    <a:pt x="190" y="162"/>
                    <a:pt x="190" y="162"/>
                    <a:pt x="190" y="162"/>
                  </a:cubicBezTo>
                  <a:cubicBezTo>
                    <a:pt x="194" y="155"/>
                    <a:pt x="197" y="150"/>
                    <a:pt x="199" y="132"/>
                  </a:cubicBezTo>
                  <a:cubicBezTo>
                    <a:pt x="199" y="130"/>
                    <a:pt x="201" y="128"/>
                    <a:pt x="203" y="128"/>
                  </a:cubicBezTo>
                  <a:cubicBezTo>
                    <a:pt x="232" y="128"/>
                    <a:pt x="232" y="128"/>
                    <a:pt x="232" y="128"/>
                  </a:cubicBezTo>
                  <a:cubicBezTo>
                    <a:pt x="232" y="104"/>
                    <a:pt x="232" y="104"/>
                    <a:pt x="232" y="104"/>
                  </a:cubicBezTo>
                  <a:cubicBezTo>
                    <a:pt x="203" y="104"/>
                    <a:pt x="203" y="104"/>
                    <a:pt x="203" y="104"/>
                  </a:cubicBezTo>
                  <a:cubicBezTo>
                    <a:pt x="201" y="104"/>
                    <a:pt x="200" y="103"/>
                    <a:pt x="199" y="101"/>
                  </a:cubicBezTo>
                  <a:cubicBezTo>
                    <a:pt x="197" y="93"/>
                    <a:pt x="194" y="84"/>
                    <a:pt x="190" y="77"/>
                  </a:cubicBezTo>
                  <a:cubicBezTo>
                    <a:pt x="189" y="76"/>
                    <a:pt x="189" y="74"/>
                    <a:pt x="190" y="73"/>
                  </a:cubicBezTo>
                  <a:cubicBezTo>
                    <a:pt x="211" y="52"/>
                    <a:pt x="211" y="52"/>
                    <a:pt x="211" y="52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67" y="50"/>
                    <a:pt x="167" y="50"/>
                    <a:pt x="167" y="50"/>
                  </a:cubicBezTo>
                  <a:cubicBezTo>
                    <a:pt x="166" y="51"/>
                    <a:pt x="164" y="51"/>
                    <a:pt x="163" y="50"/>
                  </a:cubicBezTo>
                  <a:cubicBezTo>
                    <a:pt x="155" y="46"/>
                    <a:pt x="143" y="41"/>
                    <a:pt x="139" y="41"/>
                  </a:cubicBezTo>
                  <a:cubicBezTo>
                    <a:pt x="137" y="40"/>
                    <a:pt x="136" y="39"/>
                    <a:pt x="136" y="37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9"/>
                    <a:pt x="103" y="40"/>
                    <a:pt x="101" y="41"/>
                  </a:cubicBezTo>
                  <a:cubicBezTo>
                    <a:pt x="96" y="42"/>
                    <a:pt x="85" y="46"/>
                    <a:pt x="77" y="50"/>
                  </a:cubicBezTo>
                  <a:cubicBezTo>
                    <a:pt x="76" y="51"/>
                    <a:pt x="74" y="51"/>
                    <a:pt x="73" y="50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1" y="74"/>
                    <a:pt x="51" y="76"/>
                    <a:pt x="50" y="77"/>
                  </a:cubicBezTo>
                  <a:cubicBezTo>
                    <a:pt x="46" y="85"/>
                    <a:pt x="42" y="96"/>
                    <a:pt x="41" y="101"/>
                  </a:cubicBezTo>
                  <a:cubicBezTo>
                    <a:pt x="40" y="103"/>
                    <a:pt x="39" y="104"/>
                    <a:pt x="37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28"/>
                    <a:pt x="8" y="128"/>
                    <a:pt x="8" y="128"/>
                  </a:cubicBezTo>
                  <a:cubicBezTo>
                    <a:pt x="37" y="128"/>
                    <a:pt x="37" y="128"/>
                    <a:pt x="37" y="128"/>
                  </a:cubicBezTo>
                  <a:cubicBezTo>
                    <a:pt x="39" y="128"/>
                    <a:pt x="40" y="129"/>
                    <a:pt x="41" y="131"/>
                  </a:cubicBezTo>
                  <a:cubicBezTo>
                    <a:pt x="42" y="143"/>
                    <a:pt x="46" y="156"/>
                    <a:pt x="50" y="163"/>
                  </a:cubicBezTo>
                  <a:cubicBezTo>
                    <a:pt x="51" y="164"/>
                    <a:pt x="51" y="166"/>
                    <a:pt x="50" y="167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52" y="211"/>
                    <a:pt x="52" y="211"/>
                    <a:pt x="52" y="211"/>
                  </a:cubicBezTo>
                  <a:cubicBezTo>
                    <a:pt x="73" y="190"/>
                    <a:pt x="73" y="190"/>
                    <a:pt x="73" y="190"/>
                  </a:cubicBezTo>
                  <a:cubicBezTo>
                    <a:pt x="74" y="189"/>
                    <a:pt x="76" y="189"/>
                    <a:pt x="77" y="190"/>
                  </a:cubicBezTo>
                  <a:cubicBezTo>
                    <a:pt x="82" y="192"/>
                    <a:pt x="88" y="195"/>
                    <a:pt x="94" y="196"/>
                  </a:cubicBezTo>
                  <a:cubicBezTo>
                    <a:pt x="97" y="198"/>
                    <a:pt x="100" y="199"/>
                    <a:pt x="102" y="200"/>
                  </a:cubicBezTo>
                  <a:cubicBezTo>
                    <a:pt x="103" y="200"/>
                    <a:pt x="104" y="202"/>
                    <a:pt x="104" y="203"/>
                  </a:cubicBezTo>
                  <a:lnTo>
                    <a:pt x="104" y="2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7" name="Freeform 583">
              <a:extLst>
                <a:ext uri="{FF2B5EF4-FFF2-40B4-BE49-F238E27FC236}">
                  <a16:creationId xmlns:a16="http://schemas.microsoft.com/office/drawing/2014/main" id="{FC5289CB-5A1E-5B82-2217-3D5E08C410EE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0089" y="6607175"/>
              <a:ext cx="144463" cy="144463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8 h 96"/>
                <a:gd name="T12" fmla="*/ 8 w 96"/>
                <a:gd name="T13" fmla="*/ 48 h 96"/>
                <a:gd name="T14" fmla="*/ 48 w 96"/>
                <a:gd name="T15" fmla="*/ 88 h 96"/>
                <a:gd name="T16" fmla="*/ 88 w 96"/>
                <a:gd name="T17" fmla="*/ 48 h 96"/>
                <a:gd name="T18" fmla="*/ 48 w 96"/>
                <a:gd name="T19" fmla="*/ 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4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4" y="0"/>
                    <a:pt x="96" y="22"/>
                    <a:pt x="96" y="48"/>
                  </a:cubicBezTo>
                  <a:cubicBezTo>
                    <a:pt x="96" y="74"/>
                    <a:pt x="74" y="96"/>
                    <a:pt x="48" y="96"/>
                  </a:cubicBezTo>
                  <a:close/>
                  <a:moveTo>
                    <a:pt x="48" y="8"/>
                  </a:moveTo>
                  <a:cubicBezTo>
                    <a:pt x="26" y="8"/>
                    <a:pt x="8" y="26"/>
                    <a:pt x="8" y="48"/>
                  </a:cubicBezTo>
                  <a:cubicBezTo>
                    <a:pt x="8" y="70"/>
                    <a:pt x="26" y="88"/>
                    <a:pt x="48" y="88"/>
                  </a:cubicBezTo>
                  <a:cubicBezTo>
                    <a:pt x="70" y="88"/>
                    <a:pt x="88" y="70"/>
                    <a:pt x="88" y="48"/>
                  </a:cubicBezTo>
                  <a:cubicBezTo>
                    <a:pt x="88" y="26"/>
                    <a:pt x="70" y="8"/>
                    <a:pt x="4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8" name="Gruppieren 131">
            <a:extLst>
              <a:ext uri="{FF2B5EF4-FFF2-40B4-BE49-F238E27FC236}">
                <a16:creationId xmlns:a16="http://schemas.microsoft.com/office/drawing/2014/main" id="{0D834773-2E77-43D8-A534-CD1058876BB0}"/>
              </a:ext>
            </a:extLst>
          </p:cNvPr>
          <p:cNvGrpSpPr>
            <a:grpSpLocks/>
          </p:cNvGrpSpPr>
          <p:nvPr/>
        </p:nvGrpSpPr>
        <p:grpSpPr bwMode="gray">
          <a:xfrm>
            <a:off x="1408186" y="4643332"/>
            <a:ext cx="174960" cy="174960"/>
            <a:chOff x="1862139" y="6499225"/>
            <a:chExt cx="360363" cy="360363"/>
          </a:xfrm>
          <a:solidFill>
            <a:schemeClr val="accent6"/>
          </a:solidFill>
        </p:grpSpPr>
        <p:sp>
          <p:nvSpPr>
            <p:cNvPr id="129" name="Freeform 582">
              <a:extLst>
                <a:ext uri="{FF2B5EF4-FFF2-40B4-BE49-F238E27FC236}">
                  <a16:creationId xmlns:a16="http://schemas.microsoft.com/office/drawing/2014/main" id="{6CB76138-1DB6-4BC5-D0B3-165E2920B3DB}"/>
                </a:ext>
              </a:extLst>
            </p:cNvPr>
            <p:cNvSpPr>
              <a:spLocks/>
            </p:cNvSpPr>
            <p:nvPr/>
          </p:nvSpPr>
          <p:spPr bwMode="gray">
            <a:xfrm>
              <a:off x="1862139" y="6499225"/>
              <a:ext cx="360363" cy="360363"/>
            </a:xfrm>
            <a:custGeom>
              <a:avLst/>
              <a:gdLst>
                <a:gd name="T0" fmla="*/ 100 w 240"/>
                <a:gd name="T1" fmla="*/ 240 h 240"/>
                <a:gd name="T2" fmla="*/ 96 w 240"/>
                <a:gd name="T3" fmla="*/ 206 h 240"/>
                <a:gd name="T4" fmla="*/ 76 w 240"/>
                <a:gd name="T5" fmla="*/ 198 h 240"/>
                <a:gd name="T6" fmla="*/ 49 w 240"/>
                <a:gd name="T7" fmla="*/ 219 h 240"/>
                <a:gd name="T8" fmla="*/ 20 w 240"/>
                <a:gd name="T9" fmla="*/ 188 h 240"/>
                <a:gd name="T10" fmla="*/ 42 w 240"/>
                <a:gd name="T11" fmla="*/ 164 h 240"/>
                <a:gd name="T12" fmla="*/ 4 w 240"/>
                <a:gd name="T13" fmla="*/ 136 h 240"/>
                <a:gd name="T14" fmla="*/ 0 w 240"/>
                <a:gd name="T15" fmla="*/ 100 h 240"/>
                <a:gd name="T16" fmla="*/ 34 w 240"/>
                <a:gd name="T17" fmla="*/ 96 h 240"/>
                <a:gd name="T18" fmla="*/ 21 w 240"/>
                <a:gd name="T19" fmla="*/ 55 h 240"/>
                <a:gd name="T20" fmla="*/ 49 w 240"/>
                <a:gd name="T21" fmla="*/ 21 h 240"/>
                <a:gd name="T22" fmla="*/ 76 w 240"/>
                <a:gd name="T23" fmla="*/ 42 h 240"/>
                <a:gd name="T24" fmla="*/ 96 w 240"/>
                <a:gd name="T25" fmla="*/ 4 h 240"/>
                <a:gd name="T26" fmla="*/ 140 w 240"/>
                <a:gd name="T27" fmla="*/ 0 h 240"/>
                <a:gd name="T28" fmla="*/ 144 w 240"/>
                <a:gd name="T29" fmla="*/ 34 h 240"/>
                <a:gd name="T30" fmla="*/ 185 w 240"/>
                <a:gd name="T31" fmla="*/ 21 h 240"/>
                <a:gd name="T32" fmla="*/ 219 w 240"/>
                <a:gd name="T33" fmla="*/ 49 h 240"/>
                <a:gd name="T34" fmla="*/ 219 w 240"/>
                <a:gd name="T35" fmla="*/ 55 h 240"/>
                <a:gd name="T36" fmla="*/ 206 w 240"/>
                <a:gd name="T37" fmla="*/ 96 h 240"/>
                <a:gd name="T38" fmla="*/ 240 w 240"/>
                <a:gd name="T39" fmla="*/ 100 h 240"/>
                <a:gd name="T40" fmla="*/ 236 w 240"/>
                <a:gd name="T41" fmla="*/ 136 h 240"/>
                <a:gd name="T42" fmla="*/ 198 w 240"/>
                <a:gd name="T43" fmla="*/ 164 h 240"/>
                <a:gd name="T44" fmla="*/ 219 w 240"/>
                <a:gd name="T45" fmla="*/ 191 h 240"/>
                <a:gd name="T46" fmla="*/ 185 w 240"/>
                <a:gd name="T47" fmla="*/ 219 h 240"/>
                <a:gd name="T48" fmla="*/ 149 w 240"/>
                <a:gd name="T49" fmla="*/ 204 h 240"/>
                <a:gd name="T50" fmla="*/ 144 w 240"/>
                <a:gd name="T51" fmla="*/ 236 h 240"/>
                <a:gd name="T52" fmla="*/ 104 w 240"/>
                <a:gd name="T53" fmla="*/ 232 h 240"/>
                <a:gd name="T54" fmla="*/ 136 w 240"/>
                <a:gd name="T55" fmla="*/ 203 h 240"/>
                <a:gd name="T56" fmla="*/ 146 w 240"/>
                <a:gd name="T57" fmla="*/ 196 h 240"/>
                <a:gd name="T58" fmla="*/ 167 w 240"/>
                <a:gd name="T59" fmla="*/ 190 h 240"/>
                <a:gd name="T60" fmla="*/ 211 w 240"/>
                <a:gd name="T61" fmla="*/ 188 h 240"/>
                <a:gd name="T62" fmla="*/ 190 w 240"/>
                <a:gd name="T63" fmla="*/ 163 h 240"/>
                <a:gd name="T64" fmla="*/ 199 w 240"/>
                <a:gd name="T65" fmla="*/ 132 h 240"/>
                <a:gd name="T66" fmla="*/ 232 w 240"/>
                <a:gd name="T67" fmla="*/ 128 h 240"/>
                <a:gd name="T68" fmla="*/ 203 w 240"/>
                <a:gd name="T69" fmla="*/ 104 h 240"/>
                <a:gd name="T70" fmla="*/ 190 w 240"/>
                <a:gd name="T71" fmla="*/ 77 h 240"/>
                <a:gd name="T72" fmla="*/ 211 w 240"/>
                <a:gd name="T73" fmla="*/ 52 h 240"/>
                <a:gd name="T74" fmla="*/ 167 w 240"/>
                <a:gd name="T75" fmla="*/ 50 h 240"/>
                <a:gd name="T76" fmla="*/ 139 w 240"/>
                <a:gd name="T77" fmla="*/ 41 h 240"/>
                <a:gd name="T78" fmla="*/ 136 w 240"/>
                <a:gd name="T79" fmla="*/ 8 h 240"/>
                <a:gd name="T80" fmla="*/ 104 w 240"/>
                <a:gd name="T81" fmla="*/ 37 h 240"/>
                <a:gd name="T82" fmla="*/ 77 w 240"/>
                <a:gd name="T83" fmla="*/ 50 h 240"/>
                <a:gd name="T84" fmla="*/ 52 w 240"/>
                <a:gd name="T85" fmla="*/ 29 h 240"/>
                <a:gd name="T86" fmla="*/ 50 w 240"/>
                <a:gd name="T87" fmla="*/ 73 h 240"/>
                <a:gd name="T88" fmla="*/ 41 w 240"/>
                <a:gd name="T89" fmla="*/ 101 h 240"/>
                <a:gd name="T90" fmla="*/ 8 w 240"/>
                <a:gd name="T91" fmla="*/ 104 h 240"/>
                <a:gd name="T92" fmla="*/ 37 w 240"/>
                <a:gd name="T93" fmla="*/ 128 h 240"/>
                <a:gd name="T94" fmla="*/ 50 w 240"/>
                <a:gd name="T95" fmla="*/ 163 h 240"/>
                <a:gd name="T96" fmla="*/ 29 w 240"/>
                <a:gd name="T97" fmla="*/ 188 h 240"/>
                <a:gd name="T98" fmla="*/ 73 w 240"/>
                <a:gd name="T99" fmla="*/ 190 h 240"/>
                <a:gd name="T100" fmla="*/ 94 w 240"/>
                <a:gd name="T101" fmla="*/ 196 h 240"/>
                <a:gd name="T102" fmla="*/ 104 w 240"/>
                <a:gd name="T103" fmla="*/ 203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40" h="240">
                  <a:moveTo>
                    <a:pt x="140" y="240"/>
                  </a:moveTo>
                  <a:cubicBezTo>
                    <a:pt x="100" y="240"/>
                    <a:pt x="100" y="240"/>
                    <a:pt x="100" y="240"/>
                  </a:cubicBezTo>
                  <a:cubicBezTo>
                    <a:pt x="98" y="240"/>
                    <a:pt x="96" y="238"/>
                    <a:pt x="96" y="236"/>
                  </a:cubicBezTo>
                  <a:cubicBezTo>
                    <a:pt x="96" y="206"/>
                    <a:pt x="96" y="206"/>
                    <a:pt x="96" y="206"/>
                  </a:cubicBezTo>
                  <a:cubicBezTo>
                    <a:pt x="95" y="205"/>
                    <a:pt x="93" y="205"/>
                    <a:pt x="91" y="204"/>
                  </a:cubicBezTo>
                  <a:cubicBezTo>
                    <a:pt x="86" y="202"/>
                    <a:pt x="81" y="200"/>
                    <a:pt x="76" y="198"/>
                  </a:cubicBezTo>
                  <a:cubicBezTo>
                    <a:pt x="55" y="219"/>
                    <a:pt x="55" y="219"/>
                    <a:pt x="55" y="219"/>
                  </a:cubicBezTo>
                  <a:cubicBezTo>
                    <a:pt x="54" y="221"/>
                    <a:pt x="51" y="221"/>
                    <a:pt x="49" y="219"/>
                  </a:cubicBezTo>
                  <a:cubicBezTo>
                    <a:pt x="21" y="191"/>
                    <a:pt x="21" y="191"/>
                    <a:pt x="21" y="191"/>
                  </a:cubicBezTo>
                  <a:cubicBezTo>
                    <a:pt x="20" y="190"/>
                    <a:pt x="20" y="189"/>
                    <a:pt x="20" y="188"/>
                  </a:cubicBezTo>
                  <a:cubicBezTo>
                    <a:pt x="20" y="187"/>
                    <a:pt x="20" y="186"/>
                    <a:pt x="21" y="185"/>
                  </a:cubicBezTo>
                  <a:cubicBezTo>
                    <a:pt x="42" y="164"/>
                    <a:pt x="42" y="164"/>
                    <a:pt x="42" y="164"/>
                  </a:cubicBezTo>
                  <a:cubicBezTo>
                    <a:pt x="38" y="157"/>
                    <a:pt x="35" y="146"/>
                    <a:pt x="33" y="136"/>
                  </a:cubicBezTo>
                  <a:cubicBezTo>
                    <a:pt x="4" y="136"/>
                    <a:pt x="4" y="136"/>
                    <a:pt x="4" y="136"/>
                  </a:cubicBezTo>
                  <a:cubicBezTo>
                    <a:pt x="2" y="136"/>
                    <a:pt x="0" y="134"/>
                    <a:pt x="0" y="132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98"/>
                    <a:pt x="2" y="96"/>
                    <a:pt x="4" y="96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5" y="91"/>
                    <a:pt x="39" y="82"/>
                    <a:pt x="42" y="76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19" y="54"/>
                    <a:pt x="19" y="51"/>
                    <a:pt x="21" y="49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51" y="19"/>
                    <a:pt x="54" y="19"/>
                    <a:pt x="55" y="21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82" y="38"/>
                    <a:pt x="91" y="35"/>
                    <a:pt x="96" y="34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6" y="2"/>
                    <a:pt x="98" y="0"/>
                    <a:pt x="100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2" y="0"/>
                    <a:pt x="144" y="2"/>
                    <a:pt x="144" y="4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9" y="35"/>
                    <a:pt x="158" y="38"/>
                    <a:pt x="164" y="42"/>
                  </a:cubicBezTo>
                  <a:cubicBezTo>
                    <a:pt x="185" y="21"/>
                    <a:pt x="185" y="21"/>
                    <a:pt x="185" y="21"/>
                  </a:cubicBezTo>
                  <a:cubicBezTo>
                    <a:pt x="186" y="19"/>
                    <a:pt x="189" y="19"/>
                    <a:pt x="191" y="21"/>
                  </a:cubicBezTo>
                  <a:cubicBezTo>
                    <a:pt x="219" y="49"/>
                    <a:pt x="219" y="49"/>
                    <a:pt x="219" y="49"/>
                  </a:cubicBezTo>
                  <a:cubicBezTo>
                    <a:pt x="220" y="50"/>
                    <a:pt x="220" y="51"/>
                    <a:pt x="220" y="52"/>
                  </a:cubicBezTo>
                  <a:cubicBezTo>
                    <a:pt x="220" y="53"/>
                    <a:pt x="220" y="54"/>
                    <a:pt x="219" y="55"/>
                  </a:cubicBezTo>
                  <a:cubicBezTo>
                    <a:pt x="198" y="76"/>
                    <a:pt x="198" y="76"/>
                    <a:pt x="198" y="76"/>
                  </a:cubicBezTo>
                  <a:cubicBezTo>
                    <a:pt x="202" y="82"/>
                    <a:pt x="204" y="89"/>
                    <a:pt x="206" y="96"/>
                  </a:cubicBezTo>
                  <a:cubicBezTo>
                    <a:pt x="236" y="96"/>
                    <a:pt x="236" y="96"/>
                    <a:pt x="236" y="96"/>
                  </a:cubicBezTo>
                  <a:cubicBezTo>
                    <a:pt x="238" y="96"/>
                    <a:pt x="240" y="98"/>
                    <a:pt x="240" y="100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40" y="134"/>
                    <a:pt x="238" y="136"/>
                    <a:pt x="236" y="136"/>
                  </a:cubicBezTo>
                  <a:cubicBezTo>
                    <a:pt x="207" y="136"/>
                    <a:pt x="207" y="136"/>
                    <a:pt x="207" y="136"/>
                  </a:cubicBezTo>
                  <a:cubicBezTo>
                    <a:pt x="205" y="152"/>
                    <a:pt x="202" y="158"/>
                    <a:pt x="198" y="164"/>
                  </a:cubicBezTo>
                  <a:cubicBezTo>
                    <a:pt x="219" y="185"/>
                    <a:pt x="219" y="185"/>
                    <a:pt x="219" y="185"/>
                  </a:cubicBezTo>
                  <a:cubicBezTo>
                    <a:pt x="221" y="186"/>
                    <a:pt x="221" y="189"/>
                    <a:pt x="219" y="191"/>
                  </a:cubicBezTo>
                  <a:cubicBezTo>
                    <a:pt x="191" y="219"/>
                    <a:pt x="191" y="219"/>
                    <a:pt x="191" y="219"/>
                  </a:cubicBezTo>
                  <a:cubicBezTo>
                    <a:pt x="189" y="221"/>
                    <a:pt x="186" y="221"/>
                    <a:pt x="185" y="219"/>
                  </a:cubicBezTo>
                  <a:cubicBezTo>
                    <a:pt x="164" y="198"/>
                    <a:pt x="164" y="198"/>
                    <a:pt x="164" y="198"/>
                  </a:cubicBezTo>
                  <a:cubicBezTo>
                    <a:pt x="159" y="200"/>
                    <a:pt x="154" y="202"/>
                    <a:pt x="149" y="204"/>
                  </a:cubicBezTo>
                  <a:cubicBezTo>
                    <a:pt x="147" y="205"/>
                    <a:pt x="145" y="205"/>
                    <a:pt x="144" y="206"/>
                  </a:cubicBezTo>
                  <a:cubicBezTo>
                    <a:pt x="144" y="236"/>
                    <a:pt x="144" y="236"/>
                    <a:pt x="144" y="236"/>
                  </a:cubicBezTo>
                  <a:cubicBezTo>
                    <a:pt x="144" y="238"/>
                    <a:pt x="142" y="240"/>
                    <a:pt x="140" y="240"/>
                  </a:cubicBezTo>
                  <a:close/>
                  <a:moveTo>
                    <a:pt x="104" y="232"/>
                  </a:moveTo>
                  <a:cubicBezTo>
                    <a:pt x="136" y="232"/>
                    <a:pt x="136" y="232"/>
                    <a:pt x="136" y="232"/>
                  </a:cubicBezTo>
                  <a:cubicBezTo>
                    <a:pt x="136" y="203"/>
                    <a:pt x="136" y="203"/>
                    <a:pt x="136" y="203"/>
                  </a:cubicBezTo>
                  <a:cubicBezTo>
                    <a:pt x="136" y="202"/>
                    <a:pt x="137" y="200"/>
                    <a:pt x="138" y="200"/>
                  </a:cubicBezTo>
                  <a:cubicBezTo>
                    <a:pt x="140" y="199"/>
                    <a:pt x="143" y="198"/>
                    <a:pt x="146" y="196"/>
                  </a:cubicBezTo>
                  <a:cubicBezTo>
                    <a:pt x="152" y="195"/>
                    <a:pt x="158" y="192"/>
                    <a:pt x="163" y="190"/>
                  </a:cubicBezTo>
                  <a:cubicBezTo>
                    <a:pt x="164" y="189"/>
                    <a:pt x="166" y="189"/>
                    <a:pt x="167" y="190"/>
                  </a:cubicBezTo>
                  <a:cubicBezTo>
                    <a:pt x="188" y="211"/>
                    <a:pt x="188" y="211"/>
                    <a:pt x="188" y="211"/>
                  </a:cubicBezTo>
                  <a:cubicBezTo>
                    <a:pt x="211" y="188"/>
                    <a:pt x="211" y="188"/>
                    <a:pt x="211" y="188"/>
                  </a:cubicBezTo>
                  <a:cubicBezTo>
                    <a:pt x="190" y="167"/>
                    <a:pt x="190" y="167"/>
                    <a:pt x="190" y="167"/>
                  </a:cubicBezTo>
                  <a:cubicBezTo>
                    <a:pt x="189" y="166"/>
                    <a:pt x="189" y="164"/>
                    <a:pt x="190" y="163"/>
                  </a:cubicBezTo>
                  <a:cubicBezTo>
                    <a:pt x="190" y="162"/>
                    <a:pt x="190" y="162"/>
                    <a:pt x="190" y="162"/>
                  </a:cubicBezTo>
                  <a:cubicBezTo>
                    <a:pt x="194" y="155"/>
                    <a:pt x="197" y="150"/>
                    <a:pt x="199" y="132"/>
                  </a:cubicBezTo>
                  <a:cubicBezTo>
                    <a:pt x="199" y="130"/>
                    <a:pt x="201" y="128"/>
                    <a:pt x="203" y="128"/>
                  </a:cubicBezTo>
                  <a:cubicBezTo>
                    <a:pt x="232" y="128"/>
                    <a:pt x="232" y="128"/>
                    <a:pt x="232" y="128"/>
                  </a:cubicBezTo>
                  <a:cubicBezTo>
                    <a:pt x="232" y="104"/>
                    <a:pt x="232" y="104"/>
                    <a:pt x="232" y="104"/>
                  </a:cubicBezTo>
                  <a:cubicBezTo>
                    <a:pt x="203" y="104"/>
                    <a:pt x="203" y="104"/>
                    <a:pt x="203" y="104"/>
                  </a:cubicBezTo>
                  <a:cubicBezTo>
                    <a:pt x="201" y="104"/>
                    <a:pt x="200" y="103"/>
                    <a:pt x="199" y="101"/>
                  </a:cubicBezTo>
                  <a:cubicBezTo>
                    <a:pt x="197" y="93"/>
                    <a:pt x="194" y="84"/>
                    <a:pt x="190" y="77"/>
                  </a:cubicBezTo>
                  <a:cubicBezTo>
                    <a:pt x="189" y="76"/>
                    <a:pt x="189" y="74"/>
                    <a:pt x="190" y="73"/>
                  </a:cubicBezTo>
                  <a:cubicBezTo>
                    <a:pt x="211" y="52"/>
                    <a:pt x="211" y="52"/>
                    <a:pt x="211" y="52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67" y="50"/>
                    <a:pt x="167" y="50"/>
                    <a:pt x="167" y="50"/>
                  </a:cubicBezTo>
                  <a:cubicBezTo>
                    <a:pt x="166" y="51"/>
                    <a:pt x="164" y="51"/>
                    <a:pt x="163" y="50"/>
                  </a:cubicBezTo>
                  <a:cubicBezTo>
                    <a:pt x="155" y="46"/>
                    <a:pt x="143" y="41"/>
                    <a:pt x="139" y="41"/>
                  </a:cubicBezTo>
                  <a:cubicBezTo>
                    <a:pt x="137" y="40"/>
                    <a:pt x="136" y="39"/>
                    <a:pt x="136" y="37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9"/>
                    <a:pt x="103" y="40"/>
                    <a:pt x="101" y="41"/>
                  </a:cubicBezTo>
                  <a:cubicBezTo>
                    <a:pt x="96" y="42"/>
                    <a:pt x="85" y="46"/>
                    <a:pt x="77" y="50"/>
                  </a:cubicBezTo>
                  <a:cubicBezTo>
                    <a:pt x="76" y="51"/>
                    <a:pt x="74" y="51"/>
                    <a:pt x="73" y="50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1" y="74"/>
                    <a:pt x="51" y="76"/>
                    <a:pt x="50" y="77"/>
                  </a:cubicBezTo>
                  <a:cubicBezTo>
                    <a:pt x="46" y="85"/>
                    <a:pt x="42" y="96"/>
                    <a:pt x="41" y="101"/>
                  </a:cubicBezTo>
                  <a:cubicBezTo>
                    <a:pt x="40" y="103"/>
                    <a:pt x="39" y="104"/>
                    <a:pt x="37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28"/>
                    <a:pt x="8" y="128"/>
                    <a:pt x="8" y="128"/>
                  </a:cubicBezTo>
                  <a:cubicBezTo>
                    <a:pt x="37" y="128"/>
                    <a:pt x="37" y="128"/>
                    <a:pt x="37" y="128"/>
                  </a:cubicBezTo>
                  <a:cubicBezTo>
                    <a:pt x="39" y="128"/>
                    <a:pt x="40" y="129"/>
                    <a:pt x="41" y="131"/>
                  </a:cubicBezTo>
                  <a:cubicBezTo>
                    <a:pt x="42" y="143"/>
                    <a:pt x="46" y="156"/>
                    <a:pt x="50" y="163"/>
                  </a:cubicBezTo>
                  <a:cubicBezTo>
                    <a:pt x="51" y="164"/>
                    <a:pt x="51" y="166"/>
                    <a:pt x="50" y="167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52" y="211"/>
                    <a:pt x="52" y="211"/>
                    <a:pt x="52" y="211"/>
                  </a:cubicBezTo>
                  <a:cubicBezTo>
                    <a:pt x="73" y="190"/>
                    <a:pt x="73" y="190"/>
                    <a:pt x="73" y="190"/>
                  </a:cubicBezTo>
                  <a:cubicBezTo>
                    <a:pt x="74" y="189"/>
                    <a:pt x="76" y="189"/>
                    <a:pt x="77" y="190"/>
                  </a:cubicBezTo>
                  <a:cubicBezTo>
                    <a:pt x="82" y="192"/>
                    <a:pt x="88" y="195"/>
                    <a:pt x="94" y="196"/>
                  </a:cubicBezTo>
                  <a:cubicBezTo>
                    <a:pt x="97" y="198"/>
                    <a:pt x="100" y="199"/>
                    <a:pt x="102" y="200"/>
                  </a:cubicBezTo>
                  <a:cubicBezTo>
                    <a:pt x="103" y="200"/>
                    <a:pt x="104" y="202"/>
                    <a:pt x="104" y="203"/>
                  </a:cubicBezTo>
                  <a:lnTo>
                    <a:pt x="104" y="2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Freeform 583">
              <a:extLst>
                <a:ext uri="{FF2B5EF4-FFF2-40B4-BE49-F238E27FC236}">
                  <a16:creationId xmlns:a16="http://schemas.microsoft.com/office/drawing/2014/main" id="{8A7CA13A-824B-9E91-E4D6-67CA6BCBDB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0089" y="6607175"/>
              <a:ext cx="144463" cy="144463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8 h 96"/>
                <a:gd name="T12" fmla="*/ 8 w 96"/>
                <a:gd name="T13" fmla="*/ 48 h 96"/>
                <a:gd name="T14" fmla="*/ 48 w 96"/>
                <a:gd name="T15" fmla="*/ 88 h 96"/>
                <a:gd name="T16" fmla="*/ 88 w 96"/>
                <a:gd name="T17" fmla="*/ 48 h 96"/>
                <a:gd name="T18" fmla="*/ 48 w 96"/>
                <a:gd name="T19" fmla="*/ 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4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4" y="0"/>
                    <a:pt x="96" y="22"/>
                    <a:pt x="96" y="48"/>
                  </a:cubicBezTo>
                  <a:cubicBezTo>
                    <a:pt x="96" y="74"/>
                    <a:pt x="74" y="96"/>
                    <a:pt x="48" y="96"/>
                  </a:cubicBezTo>
                  <a:close/>
                  <a:moveTo>
                    <a:pt x="48" y="8"/>
                  </a:moveTo>
                  <a:cubicBezTo>
                    <a:pt x="26" y="8"/>
                    <a:pt x="8" y="26"/>
                    <a:pt x="8" y="48"/>
                  </a:cubicBezTo>
                  <a:cubicBezTo>
                    <a:pt x="8" y="70"/>
                    <a:pt x="26" y="88"/>
                    <a:pt x="48" y="88"/>
                  </a:cubicBezTo>
                  <a:cubicBezTo>
                    <a:pt x="70" y="88"/>
                    <a:pt x="88" y="70"/>
                    <a:pt x="88" y="48"/>
                  </a:cubicBezTo>
                  <a:cubicBezTo>
                    <a:pt x="88" y="26"/>
                    <a:pt x="70" y="8"/>
                    <a:pt x="4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31" name="Gruppieren 134">
            <a:extLst>
              <a:ext uri="{FF2B5EF4-FFF2-40B4-BE49-F238E27FC236}">
                <a16:creationId xmlns:a16="http://schemas.microsoft.com/office/drawing/2014/main" id="{6D9C0AF2-7FAF-27C5-934D-1CF573658A46}"/>
              </a:ext>
            </a:extLst>
          </p:cNvPr>
          <p:cNvGrpSpPr>
            <a:grpSpLocks/>
          </p:cNvGrpSpPr>
          <p:nvPr/>
        </p:nvGrpSpPr>
        <p:grpSpPr bwMode="gray">
          <a:xfrm>
            <a:off x="1660389" y="4643332"/>
            <a:ext cx="174960" cy="174960"/>
            <a:chOff x="1862139" y="6499225"/>
            <a:chExt cx="360363" cy="360363"/>
          </a:xfrm>
          <a:solidFill>
            <a:schemeClr val="accent6"/>
          </a:solidFill>
        </p:grpSpPr>
        <p:sp>
          <p:nvSpPr>
            <p:cNvPr id="132" name="Freeform 582">
              <a:extLst>
                <a:ext uri="{FF2B5EF4-FFF2-40B4-BE49-F238E27FC236}">
                  <a16:creationId xmlns:a16="http://schemas.microsoft.com/office/drawing/2014/main" id="{43D9B8DF-57F8-34A2-E278-A0D7909643AB}"/>
                </a:ext>
              </a:extLst>
            </p:cNvPr>
            <p:cNvSpPr>
              <a:spLocks/>
            </p:cNvSpPr>
            <p:nvPr/>
          </p:nvSpPr>
          <p:spPr bwMode="gray">
            <a:xfrm>
              <a:off x="1862139" y="6499225"/>
              <a:ext cx="360363" cy="360363"/>
            </a:xfrm>
            <a:custGeom>
              <a:avLst/>
              <a:gdLst>
                <a:gd name="T0" fmla="*/ 100 w 240"/>
                <a:gd name="T1" fmla="*/ 240 h 240"/>
                <a:gd name="T2" fmla="*/ 96 w 240"/>
                <a:gd name="T3" fmla="*/ 206 h 240"/>
                <a:gd name="T4" fmla="*/ 76 w 240"/>
                <a:gd name="T5" fmla="*/ 198 h 240"/>
                <a:gd name="T6" fmla="*/ 49 w 240"/>
                <a:gd name="T7" fmla="*/ 219 h 240"/>
                <a:gd name="T8" fmla="*/ 20 w 240"/>
                <a:gd name="T9" fmla="*/ 188 h 240"/>
                <a:gd name="T10" fmla="*/ 42 w 240"/>
                <a:gd name="T11" fmla="*/ 164 h 240"/>
                <a:gd name="T12" fmla="*/ 4 w 240"/>
                <a:gd name="T13" fmla="*/ 136 h 240"/>
                <a:gd name="T14" fmla="*/ 0 w 240"/>
                <a:gd name="T15" fmla="*/ 100 h 240"/>
                <a:gd name="T16" fmla="*/ 34 w 240"/>
                <a:gd name="T17" fmla="*/ 96 h 240"/>
                <a:gd name="T18" fmla="*/ 21 w 240"/>
                <a:gd name="T19" fmla="*/ 55 h 240"/>
                <a:gd name="T20" fmla="*/ 49 w 240"/>
                <a:gd name="T21" fmla="*/ 21 h 240"/>
                <a:gd name="T22" fmla="*/ 76 w 240"/>
                <a:gd name="T23" fmla="*/ 42 h 240"/>
                <a:gd name="T24" fmla="*/ 96 w 240"/>
                <a:gd name="T25" fmla="*/ 4 h 240"/>
                <a:gd name="T26" fmla="*/ 140 w 240"/>
                <a:gd name="T27" fmla="*/ 0 h 240"/>
                <a:gd name="T28" fmla="*/ 144 w 240"/>
                <a:gd name="T29" fmla="*/ 34 h 240"/>
                <a:gd name="T30" fmla="*/ 185 w 240"/>
                <a:gd name="T31" fmla="*/ 21 h 240"/>
                <a:gd name="T32" fmla="*/ 219 w 240"/>
                <a:gd name="T33" fmla="*/ 49 h 240"/>
                <a:gd name="T34" fmla="*/ 219 w 240"/>
                <a:gd name="T35" fmla="*/ 55 h 240"/>
                <a:gd name="T36" fmla="*/ 206 w 240"/>
                <a:gd name="T37" fmla="*/ 96 h 240"/>
                <a:gd name="T38" fmla="*/ 240 w 240"/>
                <a:gd name="T39" fmla="*/ 100 h 240"/>
                <a:gd name="T40" fmla="*/ 236 w 240"/>
                <a:gd name="T41" fmla="*/ 136 h 240"/>
                <a:gd name="T42" fmla="*/ 198 w 240"/>
                <a:gd name="T43" fmla="*/ 164 h 240"/>
                <a:gd name="T44" fmla="*/ 219 w 240"/>
                <a:gd name="T45" fmla="*/ 191 h 240"/>
                <a:gd name="T46" fmla="*/ 185 w 240"/>
                <a:gd name="T47" fmla="*/ 219 h 240"/>
                <a:gd name="T48" fmla="*/ 149 w 240"/>
                <a:gd name="T49" fmla="*/ 204 h 240"/>
                <a:gd name="T50" fmla="*/ 144 w 240"/>
                <a:gd name="T51" fmla="*/ 236 h 240"/>
                <a:gd name="T52" fmla="*/ 104 w 240"/>
                <a:gd name="T53" fmla="*/ 232 h 240"/>
                <a:gd name="T54" fmla="*/ 136 w 240"/>
                <a:gd name="T55" fmla="*/ 203 h 240"/>
                <a:gd name="T56" fmla="*/ 146 w 240"/>
                <a:gd name="T57" fmla="*/ 196 h 240"/>
                <a:gd name="T58" fmla="*/ 167 w 240"/>
                <a:gd name="T59" fmla="*/ 190 h 240"/>
                <a:gd name="T60" fmla="*/ 211 w 240"/>
                <a:gd name="T61" fmla="*/ 188 h 240"/>
                <a:gd name="T62" fmla="*/ 190 w 240"/>
                <a:gd name="T63" fmla="*/ 163 h 240"/>
                <a:gd name="T64" fmla="*/ 199 w 240"/>
                <a:gd name="T65" fmla="*/ 132 h 240"/>
                <a:gd name="T66" fmla="*/ 232 w 240"/>
                <a:gd name="T67" fmla="*/ 128 h 240"/>
                <a:gd name="T68" fmla="*/ 203 w 240"/>
                <a:gd name="T69" fmla="*/ 104 h 240"/>
                <a:gd name="T70" fmla="*/ 190 w 240"/>
                <a:gd name="T71" fmla="*/ 77 h 240"/>
                <a:gd name="T72" fmla="*/ 211 w 240"/>
                <a:gd name="T73" fmla="*/ 52 h 240"/>
                <a:gd name="T74" fmla="*/ 167 w 240"/>
                <a:gd name="T75" fmla="*/ 50 h 240"/>
                <a:gd name="T76" fmla="*/ 139 w 240"/>
                <a:gd name="T77" fmla="*/ 41 h 240"/>
                <a:gd name="T78" fmla="*/ 136 w 240"/>
                <a:gd name="T79" fmla="*/ 8 h 240"/>
                <a:gd name="T80" fmla="*/ 104 w 240"/>
                <a:gd name="T81" fmla="*/ 37 h 240"/>
                <a:gd name="T82" fmla="*/ 77 w 240"/>
                <a:gd name="T83" fmla="*/ 50 h 240"/>
                <a:gd name="T84" fmla="*/ 52 w 240"/>
                <a:gd name="T85" fmla="*/ 29 h 240"/>
                <a:gd name="T86" fmla="*/ 50 w 240"/>
                <a:gd name="T87" fmla="*/ 73 h 240"/>
                <a:gd name="T88" fmla="*/ 41 w 240"/>
                <a:gd name="T89" fmla="*/ 101 h 240"/>
                <a:gd name="T90" fmla="*/ 8 w 240"/>
                <a:gd name="T91" fmla="*/ 104 h 240"/>
                <a:gd name="T92" fmla="*/ 37 w 240"/>
                <a:gd name="T93" fmla="*/ 128 h 240"/>
                <a:gd name="T94" fmla="*/ 50 w 240"/>
                <a:gd name="T95" fmla="*/ 163 h 240"/>
                <a:gd name="T96" fmla="*/ 29 w 240"/>
                <a:gd name="T97" fmla="*/ 188 h 240"/>
                <a:gd name="T98" fmla="*/ 73 w 240"/>
                <a:gd name="T99" fmla="*/ 190 h 240"/>
                <a:gd name="T100" fmla="*/ 94 w 240"/>
                <a:gd name="T101" fmla="*/ 196 h 240"/>
                <a:gd name="T102" fmla="*/ 104 w 240"/>
                <a:gd name="T103" fmla="*/ 203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40" h="240">
                  <a:moveTo>
                    <a:pt x="140" y="240"/>
                  </a:moveTo>
                  <a:cubicBezTo>
                    <a:pt x="100" y="240"/>
                    <a:pt x="100" y="240"/>
                    <a:pt x="100" y="240"/>
                  </a:cubicBezTo>
                  <a:cubicBezTo>
                    <a:pt x="98" y="240"/>
                    <a:pt x="96" y="238"/>
                    <a:pt x="96" y="236"/>
                  </a:cubicBezTo>
                  <a:cubicBezTo>
                    <a:pt x="96" y="206"/>
                    <a:pt x="96" y="206"/>
                    <a:pt x="96" y="206"/>
                  </a:cubicBezTo>
                  <a:cubicBezTo>
                    <a:pt x="95" y="205"/>
                    <a:pt x="93" y="205"/>
                    <a:pt x="91" y="204"/>
                  </a:cubicBezTo>
                  <a:cubicBezTo>
                    <a:pt x="86" y="202"/>
                    <a:pt x="81" y="200"/>
                    <a:pt x="76" y="198"/>
                  </a:cubicBezTo>
                  <a:cubicBezTo>
                    <a:pt x="55" y="219"/>
                    <a:pt x="55" y="219"/>
                    <a:pt x="55" y="219"/>
                  </a:cubicBezTo>
                  <a:cubicBezTo>
                    <a:pt x="54" y="221"/>
                    <a:pt x="51" y="221"/>
                    <a:pt x="49" y="219"/>
                  </a:cubicBezTo>
                  <a:cubicBezTo>
                    <a:pt x="21" y="191"/>
                    <a:pt x="21" y="191"/>
                    <a:pt x="21" y="191"/>
                  </a:cubicBezTo>
                  <a:cubicBezTo>
                    <a:pt x="20" y="190"/>
                    <a:pt x="20" y="189"/>
                    <a:pt x="20" y="188"/>
                  </a:cubicBezTo>
                  <a:cubicBezTo>
                    <a:pt x="20" y="187"/>
                    <a:pt x="20" y="186"/>
                    <a:pt x="21" y="185"/>
                  </a:cubicBezTo>
                  <a:cubicBezTo>
                    <a:pt x="42" y="164"/>
                    <a:pt x="42" y="164"/>
                    <a:pt x="42" y="164"/>
                  </a:cubicBezTo>
                  <a:cubicBezTo>
                    <a:pt x="38" y="157"/>
                    <a:pt x="35" y="146"/>
                    <a:pt x="33" y="136"/>
                  </a:cubicBezTo>
                  <a:cubicBezTo>
                    <a:pt x="4" y="136"/>
                    <a:pt x="4" y="136"/>
                    <a:pt x="4" y="136"/>
                  </a:cubicBezTo>
                  <a:cubicBezTo>
                    <a:pt x="2" y="136"/>
                    <a:pt x="0" y="134"/>
                    <a:pt x="0" y="132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98"/>
                    <a:pt x="2" y="96"/>
                    <a:pt x="4" y="96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5" y="91"/>
                    <a:pt x="39" y="82"/>
                    <a:pt x="42" y="76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19" y="54"/>
                    <a:pt x="19" y="51"/>
                    <a:pt x="21" y="49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51" y="19"/>
                    <a:pt x="54" y="19"/>
                    <a:pt x="55" y="21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82" y="38"/>
                    <a:pt x="91" y="35"/>
                    <a:pt x="96" y="34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6" y="2"/>
                    <a:pt x="98" y="0"/>
                    <a:pt x="100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2" y="0"/>
                    <a:pt x="144" y="2"/>
                    <a:pt x="144" y="4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9" y="35"/>
                    <a:pt x="158" y="38"/>
                    <a:pt x="164" y="42"/>
                  </a:cubicBezTo>
                  <a:cubicBezTo>
                    <a:pt x="185" y="21"/>
                    <a:pt x="185" y="21"/>
                    <a:pt x="185" y="21"/>
                  </a:cubicBezTo>
                  <a:cubicBezTo>
                    <a:pt x="186" y="19"/>
                    <a:pt x="189" y="19"/>
                    <a:pt x="191" y="21"/>
                  </a:cubicBezTo>
                  <a:cubicBezTo>
                    <a:pt x="219" y="49"/>
                    <a:pt x="219" y="49"/>
                    <a:pt x="219" y="49"/>
                  </a:cubicBezTo>
                  <a:cubicBezTo>
                    <a:pt x="220" y="50"/>
                    <a:pt x="220" y="51"/>
                    <a:pt x="220" y="52"/>
                  </a:cubicBezTo>
                  <a:cubicBezTo>
                    <a:pt x="220" y="53"/>
                    <a:pt x="220" y="54"/>
                    <a:pt x="219" y="55"/>
                  </a:cubicBezTo>
                  <a:cubicBezTo>
                    <a:pt x="198" y="76"/>
                    <a:pt x="198" y="76"/>
                    <a:pt x="198" y="76"/>
                  </a:cubicBezTo>
                  <a:cubicBezTo>
                    <a:pt x="202" y="82"/>
                    <a:pt x="204" y="89"/>
                    <a:pt x="206" y="96"/>
                  </a:cubicBezTo>
                  <a:cubicBezTo>
                    <a:pt x="236" y="96"/>
                    <a:pt x="236" y="96"/>
                    <a:pt x="236" y="96"/>
                  </a:cubicBezTo>
                  <a:cubicBezTo>
                    <a:pt x="238" y="96"/>
                    <a:pt x="240" y="98"/>
                    <a:pt x="240" y="100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40" y="134"/>
                    <a:pt x="238" y="136"/>
                    <a:pt x="236" y="136"/>
                  </a:cubicBezTo>
                  <a:cubicBezTo>
                    <a:pt x="207" y="136"/>
                    <a:pt x="207" y="136"/>
                    <a:pt x="207" y="136"/>
                  </a:cubicBezTo>
                  <a:cubicBezTo>
                    <a:pt x="205" y="152"/>
                    <a:pt x="202" y="158"/>
                    <a:pt x="198" y="164"/>
                  </a:cubicBezTo>
                  <a:cubicBezTo>
                    <a:pt x="219" y="185"/>
                    <a:pt x="219" y="185"/>
                    <a:pt x="219" y="185"/>
                  </a:cubicBezTo>
                  <a:cubicBezTo>
                    <a:pt x="221" y="186"/>
                    <a:pt x="221" y="189"/>
                    <a:pt x="219" y="191"/>
                  </a:cubicBezTo>
                  <a:cubicBezTo>
                    <a:pt x="191" y="219"/>
                    <a:pt x="191" y="219"/>
                    <a:pt x="191" y="219"/>
                  </a:cubicBezTo>
                  <a:cubicBezTo>
                    <a:pt x="189" y="221"/>
                    <a:pt x="186" y="221"/>
                    <a:pt x="185" y="219"/>
                  </a:cubicBezTo>
                  <a:cubicBezTo>
                    <a:pt x="164" y="198"/>
                    <a:pt x="164" y="198"/>
                    <a:pt x="164" y="198"/>
                  </a:cubicBezTo>
                  <a:cubicBezTo>
                    <a:pt x="159" y="200"/>
                    <a:pt x="154" y="202"/>
                    <a:pt x="149" y="204"/>
                  </a:cubicBezTo>
                  <a:cubicBezTo>
                    <a:pt x="147" y="205"/>
                    <a:pt x="145" y="205"/>
                    <a:pt x="144" y="206"/>
                  </a:cubicBezTo>
                  <a:cubicBezTo>
                    <a:pt x="144" y="236"/>
                    <a:pt x="144" y="236"/>
                    <a:pt x="144" y="236"/>
                  </a:cubicBezTo>
                  <a:cubicBezTo>
                    <a:pt x="144" y="238"/>
                    <a:pt x="142" y="240"/>
                    <a:pt x="140" y="240"/>
                  </a:cubicBezTo>
                  <a:close/>
                  <a:moveTo>
                    <a:pt x="104" y="232"/>
                  </a:moveTo>
                  <a:cubicBezTo>
                    <a:pt x="136" y="232"/>
                    <a:pt x="136" y="232"/>
                    <a:pt x="136" y="232"/>
                  </a:cubicBezTo>
                  <a:cubicBezTo>
                    <a:pt x="136" y="203"/>
                    <a:pt x="136" y="203"/>
                    <a:pt x="136" y="203"/>
                  </a:cubicBezTo>
                  <a:cubicBezTo>
                    <a:pt x="136" y="202"/>
                    <a:pt x="137" y="200"/>
                    <a:pt x="138" y="200"/>
                  </a:cubicBezTo>
                  <a:cubicBezTo>
                    <a:pt x="140" y="199"/>
                    <a:pt x="143" y="198"/>
                    <a:pt x="146" y="196"/>
                  </a:cubicBezTo>
                  <a:cubicBezTo>
                    <a:pt x="152" y="195"/>
                    <a:pt x="158" y="192"/>
                    <a:pt x="163" y="190"/>
                  </a:cubicBezTo>
                  <a:cubicBezTo>
                    <a:pt x="164" y="189"/>
                    <a:pt x="166" y="189"/>
                    <a:pt x="167" y="190"/>
                  </a:cubicBezTo>
                  <a:cubicBezTo>
                    <a:pt x="188" y="211"/>
                    <a:pt x="188" y="211"/>
                    <a:pt x="188" y="211"/>
                  </a:cubicBezTo>
                  <a:cubicBezTo>
                    <a:pt x="211" y="188"/>
                    <a:pt x="211" y="188"/>
                    <a:pt x="211" y="188"/>
                  </a:cubicBezTo>
                  <a:cubicBezTo>
                    <a:pt x="190" y="167"/>
                    <a:pt x="190" y="167"/>
                    <a:pt x="190" y="167"/>
                  </a:cubicBezTo>
                  <a:cubicBezTo>
                    <a:pt x="189" y="166"/>
                    <a:pt x="189" y="164"/>
                    <a:pt x="190" y="163"/>
                  </a:cubicBezTo>
                  <a:cubicBezTo>
                    <a:pt x="190" y="162"/>
                    <a:pt x="190" y="162"/>
                    <a:pt x="190" y="162"/>
                  </a:cubicBezTo>
                  <a:cubicBezTo>
                    <a:pt x="194" y="155"/>
                    <a:pt x="197" y="150"/>
                    <a:pt x="199" y="132"/>
                  </a:cubicBezTo>
                  <a:cubicBezTo>
                    <a:pt x="199" y="130"/>
                    <a:pt x="201" y="128"/>
                    <a:pt x="203" y="128"/>
                  </a:cubicBezTo>
                  <a:cubicBezTo>
                    <a:pt x="232" y="128"/>
                    <a:pt x="232" y="128"/>
                    <a:pt x="232" y="128"/>
                  </a:cubicBezTo>
                  <a:cubicBezTo>
                    <a:pt x="232" y="104"/>
                    <a:pt x="232" y="104"/>
                    <a:pt x="232" y="104"/>
                  </a:cubicBezTo>
                  <a:cubicBezTo>
                    <a:pt x="203" y="104"/>
                    <a:pt x="203" y="104"/>
                    <a:pt x="203" y="104"/>
                  </a:cubicBezTo>
                  <a:cubicBezTo>
                    <a:pt x="201" y="104"/>
                    <a:pt x="200" y="103"/>
                    <a:pt x="199" y="101"/>
                  </a:cubicBezTo>
                  <a:cubicBezTo>
                    <a:pt x="197" y="93"/>
                    <a:pt x="194" y="84"/>
                    <a:pt x="190" y="77"/>
                  </a:cubicBezTo>
                  <a:cubicBezTo>
                    <a:pt x="189" y="76"/>
                    <a:pt x="189" y="74"/>
                    <a:pt x="190" y="73"/>
                  </a:cubicBezTo>
                  <a:cubicBezTo>
                    <a:pt x="211" y="52"/>
                    <a:pt x="211" y="52"/>
                    <a:pt x="211" y="52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67" y="50"/>
                    <a:pt x="167" y="50"/>
                    <a:pt x="167" y="50"/>
                  </a:cubicBezTo>
                  <a:cubicBezTo>
                    <a:pt x="166" y="51"/>
                    <a:pt x="164" y="51"/>
                    <a:pt x="163" y="50"/>
                  </a:cubicBezTo>
                  <a:cubicBezTo>
                    <a:pt x="155" y="46"/>
                    <a:pt x="143" y="41"/>
                    <a:pt x="139" y="41"/>
                  </a:cubicBezTo>
                  <a:cubicBezTo>
                    <a:pt x="137" y="40"/>
                    <a:pt x="136" y="39"/>
                    <a:pt x="136" y="37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9"/>
                    <a:pt x="103" y="40"/>
                    <a:pt x="101" y="41"/>
                  </a:cubicBezTo>
                  <a:cubicBezTo>
                    <a:pt x="96" y="42"/>
                    <a:pt x="85" y="46"/>
                    <a:pt x="77" y="50"/>
                  </a:cubicBezTo>
                  <a:cubicBezTo>
                    <a:pt x="76" y="51"/>
                    <a:pt x="74" y="51"/>
                    <a:pt x="73" y="50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1" y="74"/>
                    <a:pt x="51" y="76"/>
                    <a:pt x="50" y="77"/>
                  </a:cubicBezTo>
                  <a:cubicBezTo>
                    <a:pt x="46" y="85"/>
                    <a:pt x="42" y="96"/>
                    <a:pt x="41" y="101"/>
                  </a:cubicBezTo>
                  <a:cubicBezTo>
                    <a:pt x="40" y="103"/>
                    <a:pt x="39" y="104"/>
                    <a:pt x="37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28"/>
                    <a:pt x="8" y="128"/>
                    <a:pt x="8" y="128"/>
                  </a:cubicBezTo>
                  <a:cubicBezTo>
                    <a:pt x="37" y="128"/>
                    <a:pt x="37" y="128"/>
                    <a:pt x="37" y="128"/>
                  </a:cubicBezTo>
                  <a:cubicBezTo>
                    <a:pt x="39" y="128"/>
                    <a:pt x="40" y="129"/>
                    <a:pt x="41" y="131"/>
                  </a:cubicBezTo>
                  <a:cubicBezTo>
                    <a:pt x="42" y="143"/>
                    <a:pt x="46" y="156"/>
                    <a:pt x="50" y="163"/>
                  </a:cubicBezTo>
                  <a:cubicBezTo>
                    <a:pt x="51" y="164"/>
                    <a:pt x="51" y="166"/>
                    <a:pt x="50" y="167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52" y="211"/>
                    <a:pt x="52" y="211"/>
                    <a:pt x="52" y="211"/>
                  </a:cubicBezTo>
                  <a:cubicBezTo>
                    <a:pt x="73" y="190"/>
                    <a:pt x="73" y="190"/>
                    <a:pt x="73" y="190"/>
                  </a:cubicBezTo>
                  <a:cubicBezTo>
                    <a:pt x="74" y="189"/>
                    <a:pt x="76" y="189"/>
                    <a:pt x="77" y="190"/>
                  </a:cubicBezTo>
                  <a:cubicBezTo>
                    <a:pt x="82" y="192"/>
                    <a:pt x="88" y="195"/>
                    <a:pt x="94" y="196"/>
                  </a:cubicBezTo>
                  <a:cubicBezTo>
                    <a:pt x="97" y="198"/>
                    <a:pt x="100" y="199"/>
                    <a:pt x="102" y="200"/>
                  </a:cubicBezTo>
                  <a:cubicBezTo>
                    <a:pt x="103" y="200"/>
                    <a:pt x="104" y="202"/>
                    <a:pt x="104" y="203"/>
                  </a:cubicBezTo>
                  <a:lnTo>
                    <a:pt x="104" y="2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3" name="Freeform 583">
              <a:extLst>
                <a:ext uri="{FF2B5EF4-FFF2-40B4-BE49-F238E27FC236}">
                  <a16:creationId xmlns:a16="http://schemas.microsoft.com/office/drawing/2014/main" id="{308F4B1B-7610-0E68-F04A-36285A74B4A6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0089" y="6607175"/>
              <a:ext cx="144463" cy="144463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8 h 96"/>
                <a:gd name="T12" fmla="*/ 8 w 96"/>
                <a:gd name="T13" fmla="*/ 48 h 96"/>
                <a:gd name="T14" fmla="*/ 48 w 96"/>
                <a:gd name="T15" fmla="*/ 88 h 96"/>
                <a:gd name="T16" fmla="*/ 88 w 96"/>
                <a:gd name="T17" fmla="*/ 48 h 96"/>
                <a:gd name="T18" fmla="*/ 48 w 96"/>
                <a:gd name="T19" fmla="*/ 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4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4" y="0"/>
                    <a:pt x="96" y="22"/>
                    <a:pt x="96" y="48"/>
                  </a:cubicBezTo>
                  <a:cubicBezTo>
                    <a:pt x="96" y="74"/>
                    <a:pt x="74" y="96"/>
                    <a:pt x="48" y="96"/>
                  </a:cubicBezTo>
                  <a:close/>
                  <a:moveTo>
                    <a:pt x="48" y="8"/>
                  </a:moveTo>
                  <a:cubicBezTo>
                    <a:pt x="26" y="8"/>
                    <a:pt x="8" y="26"/>
                    <a:pt x="8" y="48"/>
                  </a:cubicBezTo>
                  <a:cubicBezTo>
                    <a:pt x="8" y="70"/>
                    <a:pt x="26" y="88"/>
                    <a:pt x="48" y="88"/>
                  </a:cubicBezTo>
                  <a:cubicBezTo>
                    <a:pt x="70" y="88"/>
                    <a:pt x="88" y="70"/>
                    <a:pt x="88" y="48"/>
                  </a:cubicBezTo>
                  <a:cubicBezTo>
                    <a:pt x="88" y="26"/>
                    <a:pt x="70" y="8"/>
                    <a:pt x="4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34" name="Gruppieren 137">
            <a:extLst>
              <a:ext uri="{FF2B5EF4-FFF2-40B4-BE49-F238E27FC236}">
                <a16:creationId xmlns:a16="http://schemas.microsoft.com/office/drawing/2014/main" id="{0AE7501D-704D-31ED-7155-24E6F30C07D0}"/>
              </a:ext>
            </a:extLst>
          </p:cNvPr>
          <p:cNvGrpSpPr>
            <a:grpSpLocks/>
          </p:cNvGrpSpPr>
          <p:nvPr/>
        </p:nvGrpSpPr>
        <p:grpSpPr bwMode="gray">
          <a:xfrm>
            <a:off x="1912591" y="4643332"/>
            <a:ext cx="174960" cy="174960"/>
            <a:chOff x="1862139" y="6499225"/>
            <a:chExt cx="360363" cy="360363"/>
          </a:xfrm>
          <a:solidFill>
            <a:schemeClr val="accent6"/>
          </a:solidFill>
        </p:grpSpPr>
        <p:sp>
          <p:nvSpPr>
            <p:cNvPr id="135" name="Freeform 582">
              <a:extLst>
                <a:ext uri="{FF2B5EF4-FFF2-40B4-BE49-F238E27FC236}">
                  <a16:creationId xmlns:a16="http://schemas.microsoft.com/office/drawing/2014/main" id="{CE1B3F15-46E4-29B3-07F8-3CA9CB477439}"/>
                </a:ext>
              </a:extLst>
            </p:cNvPr>
            <p:cNvSpPr>
              <a:spLocks/>
            </p:cNvSpPr>
            <p:nvPr/>
          </p:nvSpPr>
          <p:spPr bwMode="gray">
            <a:xfrm>
              <a:off x="1862139" y="6499225"/>
              <a:ext cx="360363" cy="360363"/>
            </a:xfrm>
            <a:custGeom>
              <a:avLst/>
              <a:gdLst>
                <a:gd name="T0" fmla="*/ 100 w 240"/>
                <a:gd name="T1" fmla="*/ 240 h 240"/>
                <a:gd name="T2" fmla="*/ 96 w 240"/>
                <a:gd name="T3" fmla="*/ 206 h 240"/>
                <a:gd name="T4" fmla="*/ 76 w 240"/>
                <a:gd name="T5" fmla="*/ 198 h 240"/>
                <a:gd name="T6" fmla="*/ 49 w 240"/>
                <a:gd name="T7" fmla="*/ 219 h 240"/>
                <a:gd name="T8" fmla="*/ 20 w 240"/>
                <a:gd name="T9" fmla="*/ 188 h 240"/>
                <a:gd name="T10" fmla="*/ 42 w 240"/>
                <a:gd name="T11" fmla="*/ 164 h 240"/>
                <a:gd name="T12" fmla="*/ 4 w 240"/>
                <a:gd name="T13" fmla="*/ 136 h 240"/>
                <a:gd name="T14" fmla="*/ 0 w 240"/>
                <a:gd name="T15" fmla="*/ 100 h 240"/>
                <a:gd name="T16" fmla="*/ 34 w 240"/>
                <a:gd name="T17" fmla="*/ 96 h 240"/>
                <a:gd name="T18" fmla="*/ 21 w 240"/>
                <a:gd name="T19" fmla="*/ 55 h 240"/>
                <a:gd name="T20" fmla="*/ 49 w 240"/>
                <a:gd name="T21" fmla="*/ 21 h 240"/>
                <a:gd name="T22" fmla="*/ 76 w 240"/>
                <a:gd name="T23" fmla="*/ 42 h 240"/>
                <a:gd name="T24" fmla="*/ 96 w 240"/>
                <a:gd name="T25" fmla="*/ 4 h 240"/>
                <a:gd name="T26" fmla="*/ 140 w 240"/>
                <a:gd name="T27" fmla="*/ 0 h 240"/>
                <a:gd name="T28" fmla="*/ 144 w 240"/>
                <a:gd name="T29" fmla="*/ 34 h 240"/>
                <a:gd name="T30" fmla="*/ 185 w 240"/>
                <a:gd name="T31" fmla="*/ 21 h 240"/>
                <a:gd name="T32" fmla="*/ 219 w 240"/>
                <a:gd name="T33" fmla="*/ 49 h 240"/>
                <a:gd name="T34" fmla="*/ 219 w 240"/>
                <a:gd name="T35" fmla="*/ 55 h 240"/>
                <a:gd name="T36" fmla="*/ 206 w 240"/>
                <a:gd name="T37" fmla="*/ 96 h 240"/>
                <a:gd name="T38" fmla="*/ 240 w 240"/>
                <a:gd name="T39" fmla="*/ 100 h 240"/>
                <a:gd name="T40" fmla="*/ 236 w 240"/>
                <a:gd name="T41" fmla="*/ 136 h 240"/>
                <a:gd name="T42" fmla="*/ 198 w 240"/>
                <a:gd name="T43" fmla="*/ 164 h 240"/>
                <a:gd name="T44" fmla="*/ 219 w 240"/>
                <a:gd name="T45" fmla="*/ 191 h 240"/>
                <a:gd name="T46" fmla="*/ 185 w 240"/>
                <a:gd name="T47" fmla="*/ 219 h 240"/>
                <a:gd name="T48" fmla="*/ 149 w 240"/>
                <a:gd name="T49" fmla="*/ 204 h 240"/>
                <a:gd name="T50" fmla="*/ 144 w 240"/>
                <a:gd name="T51" fmla="*/ 236 h 240"/>
                <a:gd name="T52" fmla="*/ 104 w 240"/>
                <a:gd name="T53" fmla="*/ 232 h 240"/>
                <a:gd name="T54" fmla="*/ 136 w 240"/>
                <a:gd name="T55" fmla="*/ 203 h 240"/>
                <a:gd name="T56" fmla="*/ 146 w 240"/>
                <a:gd name="T57" fmla="*/ 196 h 240"/>
                <a:gd name="T58" fmla="*/ 167 w 240"/>
                <a:gd name="T59" fmla="*/ 190 h 240"/>
                <a:gd name="T60" fmla="*/ 211 w 240"/>
                <a:gd name="T61" fmla="*/ 188 h 240"/>
                <a:gd name="T62" fmla="*/ 190 w 240"/>
                <a:gd name="T63" fmla="*/ 163 h 240"/>
                <a:gd name="T64" fmla="*/ 199 w 240"/>
                <a:gd name="T65" fmla="*/ 132 h 240"/>
                <a:gd name="T66" fmla="*/ 232 w 240"/>
                <a:gd name="T67" fmla="*/ 128 h 240"/>
                <a:gd name="T68" fmla="*/ 203 w 240"/>
                <a:gd name="T69" fmla="*/ 104 h 240"/>
                <a:gd name="T70" fmla="*/ 190 w 240"/>
                <a:gd name="T71" fmla="*/ 77 h 240"/>
                <a:gd name="T72" fmla="*/ 211 w 240"/>
                <a:gd name="T73" fmla="*/ 52 h 240"/>
                <a:gd name="T74" fmla="*/ 167 w 240"/>
                <a:gd name="T75" fmla="*/ 50 h 240"/>
                <a:gd name="T76" fmla="*/ 139 w 240"/>
                <a:gd name="T77" fmla="*/ 41 h 240"/>
                <a:gd name="T78" fmla="*/ 136 w 240"/>
                <a:gd name="T79" fmla="*/ 8 h 240"/>
                <a:gd name="T80" fmla="*/ 104 w 240"/>
                <a:gd name="T81" fmla="*/ 37 h 240"/>
                <a:gd name="T82" fmla="*/ 77 w 240"/>
                <a:gd name="T83" fmla="*/ 50 h 240"/>
                <a:gd name="T84" fmla="*/ 52 w 240"/>
                <a:gd name="T85" fmla="*/ 29 h 240"/>
                <a:gd name="T86" fmla="*/ 50 w 240"/>
                <a:gd name="T87" fmla="*/ 73 h 240"/>
                <a:gd name="T88" fmla="*/ 41 w 240"/>
                <a:gd name="T89" fmla="*/ 101 h 240"/>
                <a:gd name="T90" fmla="*/ 8 w 240"/>
                <a:gd name="T91" fmla="*/ 104 h 240"/>
                <a:gd name="T92" fmla="*/ 37 w 240"/>
                <a:gd name="T93" fmla="*/ 128 h 240"/>
                <a:gd name="T94" fmla="*/ 50 w 240"/>
                <a:gd name="T95" fmla="*/ 163 h 240"/>
                <a:gd name="T96" fmla="*/ 29 w 240"/>
                <a:gd name="T97" fmla="*/ 188 h 240"/>
                <a:gd name="T98" fmla="*/ 73 w 240"/>
                <a:gd name="T99" fmla="*/ 190 h 240"/>
                <a:gd name="T100" fmla="*/ 94 w 240"/>
                <a:gd name="T101" fmla="*/ 196 h 240"/>
                <a:gd name="T102" fmla="*/ 104 w 240"/>
                <a:gd name="T103" fmla="*/ 203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40" h="240">
                  <a:moveTo>
                    <a:pt x="140" y="240"/>
                  </a:moveTo>
                  <a:cubicBezTo>
                    <a:pt x="100" y="240"/>
                    <a:pt x="100" y="240"/>
                    <a:pt x="100" y="240"/>
                  </a:cubicBezTo>
                  <a:cubicBezTo>
                    <a:pt x="98" y="240"/>
                    <a:pt x="96" y="238"/>
                    <a:pt x="96" y="236"/>
                  </a:cubicBezTo>
                  <a:cubicBezTo>
                    <a:pt x="96" y="206"/>
                    <a:pt x="96" y="206"/>
                    <a:pt x="96" y="206"/>
                  </a:cubicBezTo>
                  <a:cubicBezTo>
                    <a:pt x="95" y="205"/>
                    <a:pt x="93" y="205"/>
                    <a:pt x="91" y="204"/>
                  </a:cubicBezTo>
                  <a:cubicBezTo>
                    <a:pt x="86" y="202"/>
                    <a:pt x="81" y="200"/>
                    <a:pt x="76" y="198"/>
                  </a:cubicBezTo>
                  <a:cubicBezTo>
                    <a:pt x="55" y="219"/>
                    <a:pt x="55" y="219"/>
                    <a:pt x="55" y="219"/>
                  </a:cubicBezTo>
                  <a:cubicBezTo>
                    <a:pt x="54" y="221"/>
                    <a:pt x="51" y="221"/>
                    <a:pt x="49" y="219"/>
                  </a:cubicBezTo>
                  <a:cubicBezTo>
                    <a:pt x="21" y="191"/>
                    <a:pt x="21" y="191"/>
                    <a:pt x="21" y="191"/>
                  </a:cubicBezTo>
                  <a:cubicBezTo>
                    <a:pt x="20" y="190"/>
                    <a:pt x="20" y="189"/>
                    <a:pt x="20" y="188"/>
                  </a:cubicBezTo>
                  <a:cubicBezTo>
                    <a:pt x="20" y="187"/>
                    <a:pt x="20" y="186"/>
                    <a:pt x="21" y="185"/>
                  </a:cubicBezTo>
                  <a:cubicBezTo>
                    <a:pt x="42" y="164"/>
                    <a:pt x="42" y="164"/>
                    <a:pt x="42" y="164"/>
                  </a:cubicBezTo>
                  <a:cubicBezTo>
                    <a:pt x="38" y="157"/>
                    <a:pt x="35" y="146"/>
                    <a:pt x="33" y="136"/>
                  </a:cubicBezTo>
                  <a:cubicBezTo>
                    <a:pt x="4" y="136"/>
                    <a:pt x="4" y="136"/>
                    <a:pt x="4" y="136"/>
                  </a:cubicBezTo>
                  <a:cubicBezTo>
                    <a:pt x="2" y="136"/>
                    <a:pt x="0" y="134"/>
                    <a:pt x="0" y="132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98"/>
                    <a:pt x="2" y="96"/>
                    <a:pt x="4" y="96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5" y="91"/>
                    <a:pt x="39" y="82"/>
                    <a:pt x="42" y="76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19" y="54"/>
                    <a:pt x="19" y="51"/>
                    <a:pt x="21" y="49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51" y="19"/>
                    <a:pt x="54" y="19"/>
                    <a:pt x="55" y="21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82" y="38"/>
                    <a:pt x="91" y="35"/>
                    <a:pt x="96" y="34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6" y="2"/>
                    <a:pt x="98" y="0"/>
                    <a:pt x="100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2" y="0"/>
                    <a:pt x="144" y="2"/>
                    <a:pt x="144" y="4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9" y="35"/>
                    <a:pt x="158" y="38"/>
                    <a:pt x="164" y="42"/>
                  </a:cubicBezTo>
                  <a:cubicBezTo>
                    <a:pt x="185" y="21"/>
                    <a:pt x="185" y="21"/>
                    <a:pt x="185" y="21"/>
                  </a:cubicBezTo>
                  <a:cubicBezTo>
                    <a:pt x="186" y="19"/>
                    <a:pt x="189" y="19"/>
                    <a:pt x="191" y="21"/>
                  </a:cubicBezTo>
                  <a:cubicBezTo>
                    <a:pt x="219" y="49"/>
                    <a:pt x="219" y="49"/>
                    <a:pt x="219" y="49"/>
                  </a:cubicBezTo>
                  <a:cubicBezTo>
                    <a:pt x="220" y="50"/>
                    <a:pt x="220" y="51"/>
                    <a:pt x="220" y="52"/>
                  </a:cubicBezTo>
                  <a:cubicBezTo>
                    <a:pt x="220" y="53"/>
                    <a:pt x="220" y="54"/>
                    <a:pt x="219" y="55"/>
                  </a:cubicBezTo>
                  <a:cubicBezTo>
                    <a:pt x="198" y="76"/>
                    <a:pt x="198" y="76"/>
                    <a:pt x="198" y="76"/>
                  </a:cubicBezTo>
                  <a:cubicBezTo>
                    <a:pt x="202" y="82"/>
                    <a:pt x="204" y="89"/>
                    <a:pt x="206" y="96"/>
                  </a:cubicBezTo>
                  <a:cubicBezTo>
                    <a:pt x="236" y="96"/>
                    <a:pt x="236" y="96"/>
                    <a:pt x="236" y="96"/>
                  </a:cubicBezTo>
                  <a:cubicBezTo>
                    <a:pt x="238" y="96"/>
                    <a:pt x="240" y="98"/>
                    <a:pt x="240" y="100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40" y="134"/>
                    <a:pt x="238" y="136"/>
                    <a:pt x="236" y="136"/>
                  </a:cubicBezTo>
                  <a:cubicBezTo>
                    <a:pt x="207" y="136"/>
                    <a:pt x="207" y="136"/>
                    <a:pt x="207" y="136"/>
                  </a:cubicBezTo>
                  <a:cubicBezTo>
                    <a:pt x="205" y="152"/>
                    <a:pt x="202" y="158"/>
                    <a:pt x="198" y="164"/>
                  </a:cubicBezTo>
                  <a:cubicBezTo>
                    <a:pt x="219" y="185"/>
                    <a:pt x="219" y="185"/>
                    <a:pt x="219" y="185"/>
                  </a:cubicBezTo>
                  <a:cubicBezTo>
                    <a:pt x="221" y="186"/>
                    <a:pt x="221" y="189"/>
                    <a:pt x="219" y="191"/>
                  </a:cubicBezTo>
                  <a:cubicBezTo>
                    <a:pt x="191" y="219"/>
                    <a:pt x="191" y="219"/>
                    <a:pt x="191" y="219"/>
                  </a:cubicBezTo>
                  <a:cubicBezTo>
                    <a:pt x="189" y="221"/>
                    <a:pt x="186" y="221"/>
                    <a:pt x="185" y="219"/>
                  </a:cubicBezTo>
                  <a:cubicBezTo>
                    <a:pt x="164" y="198"/>
                    <a:pt x="164" y="198"/>
                    <a:pt x="164" y="198"/>
                  </a:cubicBezTo>
                  <a:cubicBezTo>
                    <a:pt x="159" y="200"/>
                    <a:pt x="154" y="202"/>
                    <a:pt x="149" y="204"/>
                  </a:cubicBezTo>
                  <a:cubicBezTo>
                    <a:pt x="147" y="205"/>
                    <a:pt x="145" y="205"/>
                    <a:pt x="144" y="206"/>
                  </a:cubicBezTo>
                  <a:cubicBezTo>
                    <a:pt x="144" y="236"/>
                    <a:pt x="144" y="236"/>
                    <a:pt x="144" y="236"/>
                  </a:cubicBezTo>
                  <a:cubicBezTo>
                    <a:pt x="144" y="238"/>
                    <a:pt x="142" y="240"/>
                    <a:pt x="140" y="240"/>
                  </a:cubicBezTo>
                  <a:close/>
                  <a:moveTo>
                    <a:pt x="104" y="232"/>
                  </a:moveTo>
                  <a:cubicBezTo>
                    <a:pt x="136" y="232"/>
                    <a:pt x="136" y="232"/>
                    <a:pt x="136" y="232"/>
                  </a:cubicBezTo>
                  <a:cubicBezTo>
                    <a:pt x="136" y="203"/>
                    <a:pt x="136" y="203"/>
                    <a:pt x="136" y="203"/>
                  </a:cubicBezTo>
                  <a:cubicBezTo>
                    <a:pt x="136" y="202"/>
                    <a:pt x="137" y="200"/>
                    <a:pt x="138" y="200"/>
                  </a:cubicBezTo>
                  <a:cubicBezTo>
                    <a:pt x="140" y="199"/>
                    <a:pt x="143" y="198"/>
                    <a:pt x="146" y="196"/>
                  </a:cubicBezTo>
                  <a:cubicBezTo>
                    <a:pt x="152" y="195"/>
                    <a:pt x="158" y="192"/>
                    <a:pt x="163" y="190"/>
                  </a:cubicBezTo>
                  <a:cubicBezTo>
                    <a:pt x="164" y="189"/>
                    <a:pt x="166" y="189"/>
                    <a:pt x="167" y="190"/>
                  </a:cubicBezTo>
                  <a:cubicBezTo>
                    <a:pt x="188" y="211"/>
                    <a:pt x="188" y="211"/>
                    <a:pt x="188" y="211"/>
                  </a:cubicBezTo>
                  <a:cubicBezTo>
                    <a:pt x="211" y="188"/>
                    <a:pt x="211" y="188"/>
                    <a:pt x="211" y="188"/>
                  </a:cubicBezTo>
                  <a:cubicBezTo>
                    <a:pt x="190" y="167"/>
                    <a:pt x="190" y="167"/>
                    <a:pt x="190" y="167"/>
                  </a:cubicBezTo>
                  <a:cubicBezTo>
                    <a:pt x="189" y="166"/>
                    <a:pt x="189" y="164"/>
                    <a:pt x="190" y="163"/>
                  </a:cubicBezTo>
                  <a:cubicBezTo>
                    <a:pt x="190" y="162"/>
                    <a:pt x="190" y="162"/>
                    <a:pt x="190" y="162"/>
                  </a:cubicBezTo>
                  <a:cubicBezTo>
                    <a:pt x="194" y="155"/>
                    <a:pt x="197" y="150"/>
                    <a:pt x="199" y="132"/>
                  </a:cubicBezTo>
                  <a:cubicBezTo>
                    <a:pt x="199" y="130"/>
                    <a:pt x="201" y="128"/>
                    <a:pt x="203" y="128"/>
                  </a:cubicBezTo>
                  <a:cubicBezTo>
                    <a:pt x="232" y="128"/>
                    <a:pt x="232" y="128"/>
                    <a:pt x="232" y="128"/>
                  </a:cubicBezTo>
                  <a:cubicBezTo>
                    <a:pt x="232" y="104"/>
                    <a:pt x="232" y="104"/>
                    <a:pt x="232" y="104"/>
                  </a:cubicBezTo>
                  <a:cubicBezTo>
                    <a:pt x="203" y="104"/>
                    <a:pt x="203" y="104"/>
                    <a:pt x="203" y="104"/>
                  </a:cubicBezTo>
                  <a:cubicBezTo>
                    <a:pt x="201" y="104"/>
                    <a:pt x="200" y="103"/>
                    <a:pt x="199" y="101"/>
                  </a:cubicBezTo>
                  <a:cubicBezTo>
                    <a:pt x="197" y="93"/>
                    <a:pt x="194" y="84"/>
                    <a:pt x="190" y="77"/>
                  </a:cubicBezTo>
                  <a:cubicBezTo>
                    <a:pt x="189" y="76"/>
                    <a:pt x="189" y="74"/>
                    <a:pt x="190" y="73"/>
                  </a:cubicBezTo>
                  <a:cubicBezTo>
                    <a:pt x="211" y="52"/>
                    <a:pt x="211" y="52"/>
                    <a:pt x="211" y="52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67" y="50"/>
                    <a:pt x="167" y="50"/>
                    <a:pt x="167" y="50"/>
                  </a:cubicBezTo>
                  <a:cubicBezTo>
                    <a:pt x="166" y="51"/>
                    <a:pt x="164" y="51"/>
                    <a:pt x="163" y="50"/>
                  </a:cubicBezTo>
                  <a:cubicBezTo>
                    <a:pt x="155" y="46"/>
                    <a:pt x="143" y="41"/>
                    <a:pt x="139" y="41"/>
                  </a:cubicBezTo>
                  <a:cubicBezTo>
                    <a:pt x="137" y="40"/>
                    <a:pt x="136" y="39"/>
                    <a:pt x="136" y="37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9"/>
                    <a:pt x="103" y="40"/>
                    <a:pt x="101" y="41"/>
                  </a:cubicBezTo>
                  <a:cubicBezTo>
                    <a:pt x="96" y="42"/>
                    <a:pt x="85" y="46"/>
                    <a:pt x="77" y="50"/>
                  </a:cubicBezTo>
                  <a:cubicBezTo>
                    <a:pt x="76" y="51"/>
                    <a:pt x="74" y="51"/>
                    <a:pt x="73" y="50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1" y="74"/>
                    <a:pt x="51" y="76"/>
                    <a:pt x="50" y="77"/>
                  </a:cubicBezTo>
                  <a:cubicBezTo>
                    <a:pt x="46" y="85"/>
                    <a:pt x="42" y="96"/>
                    <a:pt x="41" y="101"/>
                  </a:cubicBezTo>
                  <a:cubicBezTo>
                    <a:pt x="40" y="103"/>
                    <a:pt x="39" y="104"/>
                    <a:pt x="37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28"/>
                    <a:pt x="8" y="128"/>
                    <a:pt x="8" y="128"/>
                  </a:cubicBezTo>
                  <a:cubicBezTo>
                    <a:pt x="37" y="128"/>
                    <a:pt x="37" y="128"/>
                    <a:pt x="37" y="128"/>
                  </a:cubicBezTo>
                  <a:cubicBezTo>
                    <a:pt x="39" y="128"/>
                    <a:pt x="40" y="129"/>
                    <a:pt x="41" y="131"/>
                  </a:cubicBezTo>
                  <a:cubicBezTo>
                    <a:pt x="42" y="143"/>
                    <a:pt x="46" y="156"/>
                    <a:pt x="50" y="163"/>
                  </a:cubicBezTo>
                  <a:cubicBezTo>
                    <a:pt x="51" y="164"/>
                    <a:pt x="51" y="166"/>
                    <a:pt x="50" y="167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52" y="211"/>
                    <a:pt x="52" y="211"/>
                    <a:pt x="52" y="211"/>
                  </a:cubicBezTo>
                  <a:cubicBezTo>
                    <a:pt x="73" y="190"/>
                    <a:pt x="73" y="190"/>
                    <a:pt x="73" y="190"/>
                  </a:cubicBezTo>
                  <a:cubicBezTo>
                    <a:pt x="74" y="189"/>
                    <a:pt x="76" y="189"/>
                    <a:pt x="77" y="190"/>
                  </a:cubicBezTo>
                  <a:cubicBezTo>
                    <a:pt x="82" y="192"/>
                    <a:pt x="88" y="195"/>
                    <a:pt x="94" y="196"/>
                  </a:cubicBezTo>
                  <a:cubicBezTo>
                    <a:pt x="97" y="198"/>
                    <a:pt x="100" y="199"/>
                    <a:pt x="102" y="200"/>
                  </a:cubicBezTo>
                  <a:cubicBezTo>
                    <a:pt x="103" y="200"/>
                    <a:pt x="104" y="202"/>
                    <a:pt x="104" y="203"/>
                  </a:cubicBezTo>
                  <a:lnTo>
                    <a:pt x="104" y="2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 583">
              <a:extLst>
                <a:ext uri="{FF2B5EF4-FFF2-40B4-BE49-F238E27FC236}">
                  <a16:creationId xmlns:a16="http://schemas.microsoft.com/office/drawing/2014/main" id="{48362315-37CB-4E0C-BF62-1CB1322F6718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0089" y="6607175"/>
              <a:ext cx="144463" cy="144463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8 h 96"/>
                <a:gd name="T12" fmla="*/ 8 w 96"/>
                <a:gd name="T13" fmla="*/ 48 h 96"/>
                <a:gd name="T14" fmla="*/ 48 w 96"/>
                <a:gd name="T15" fmla="*/ 88 h 96"/>
                <a:gd name="T16" fmla="*/ 88 w 96"/>
                <a:gd name="T17" fmla="*/ 48 h 96"/>
                <a:gd name="T18" fmla="*/ 48 w 96"/>
                <a:gd name="T19" fmla="*/ 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4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4" y="0"/>
                    <a:pt x="96" y="22"/>
                    <a:pt x="96" y="48"/>
                  </a:cubicBezTo>
                  <a:cubicBezTo>
                    <a:pt x="96" y="74"/>
                    <a:pt x="74" y="96"/>
                    <a:pt x="48" y="96"/>
                  </a:cubicBezTo>
                  <a:close/>
                  <a:moveTo>
                    <a:pt x="48" y="8"/>
                  </a:moveTo>
                  <a:cubicBezTo>
                    <a:pt x="26" y="8"/>
                    <a:pt x="8" y="26"/>
                    <a:pt x="8" y="48"/>
                  </a:cubicBezTo>
                  <a:cubicBezTo>
                    <a:pt x="8" y="70"/>
                    <a:pt x="26" y="88"/>
                    <a:pt x="48" y="88"/>
                  </a:cubicBezTo>
                  <a:cubicBezTo>
                    <a:pt x="70" y="88"/>
                    <a:pt x="88" y="70"/>
                    <a:pt x="88" y="48"/>
                  </a:cubicBezTo>
                  <a:cubicBezTo>
                    <a:pt x="88" y="26"/>
                    <a:pt x="70" y="8"/>
                    <a:pt x="4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37" name="Gruppieren 140">
            <a:extLst>
              <a:ext uri="{FF2B5EF4-FFF2-40B4-BE49-F238E27FC236}">
                <a16:creationId xmlns:a16="http://schemas.microsoft.com/office/drawing/2014/main" id="{43A186BE-3099-5230-AEBD-C845B6152781}"/>
              </a:ext>
            </a:extLst>
          </p:cNvPr>
          <p:cNvGrpSpPr>
            <a:grpSpLocks/>
          </p:cNvGrpSpPr>
          <p:nvPr/>
        </p:nvGrpSpPr>
        <p:grpSpPr bwMode="gray">
          <a:xfrm>
            <a:off x="2164795" y="4643332"/>
            <a:ext cx="174960" cy="174960"/>
            <a:chOff x="1862139" y="6499225"/>
            <a:chExt cx="360363" cy="360363"/>
          </a:xfrm>
          <a:solidFill>
            <a:schemeClr val="accent6"/>
          </a:solidFill>
        </p:grpSpPr>
        <p:sp>
          <p:nvSpPr>
            <p:cNvPr id="138" name="Freeform 582">
              <a:extLst>
                <a:ext uri="{FF2B5EF4-FFF2-40B4-BE49-F238E27FC236}">
                  <a16:creationId xmlns:a16="http://schemas.microsoft.com/office/drawing/2014/main" id="{3EDAD8CE-3771-32E8-CC93-E8665A9A6BE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62139" y="6499225"/>
              <a:ext cx="360363" cy="360363"/>
            </a:xfrm>
            <a:custGeom>
              <a:avLst/>
              <a:gdLst>
                <a:gd name="T0" fmla="*/ 100 w 240"/>
                <a:gd name="T1" fmla="*/ 240 h 240"/>
                <a:gd name="T2" fmla="*/ 96 w 240"/>
                <a:gd name="T3" fmla="*/ 206 h 240"/>
                <a:gd name="T4" fmla="*/ 76 w 240"/>
                <a:gd name="T5" fmla="*/ 198 h 240"/>
                <a:gd name="T6" fmla="*/ 49 w 240"/>
                <a:gd name="T7" fmla="*/ 219 h 240"/>
                <a:gd name="T8" fmla="*/ 20 w 240"/>
                <a:gd name="T9" fmla="*/ 188 h 240"/>
                <a:gd name="T10" fmla="*/ 42 w 240"/>
                <a:gd name="T11" fmla="*/ 164 h 240"/>
                <a:gd name="T12" fmla="*/ 4 w 240"/>
                <a:gd name="T13" fmla="*/ 136 h 240"/>
                <a:gd name="T14" fmla="*/ 0 w 240"/>
                <a:gd name="T15" fmla="*/ 100 h 240"/>
                <a:gd name="T16" fmla="*/ 34 w 240"/>
                <a:gd name="T17" fmla="*/ 96 h 240"/>
                <a:gd name="T18" fmla="*/ 21 w 240"/>
                <a:gd name="T19" fmla="*/ 55 h 240"/>
                <a:gd name="T20" fmla="*/ 49 w 240"/>
                <a:gd name="T21" fmla="*/ 21 h 240"/>
                <a:gd name="T22" fmla="*/ 76 w 240"/>
                <a:gd name="T23" fmla="*/ 42 h 240"/>
                <a:gd name="T24" fmla="*/ 96 w 240"/>
                <a:gd name="T25" fmla="*/ 4 h 240"/>
                <a:gd name="T26" fmla="*/ 140 w 240"/>
                <a:gd name="T27" fmla="*/ 0 h 240"/>
                <a:gd name="T28" fmla="*/ 144 w 240"/>
                <a:gd name="T29" fmla="*/ 34 h 240"/>
                <a:gd name="T30" fmla="*/ 185 w 240"/>
                <a:gd name="T31" fmla="*/ 21 h 240"/>
                <a:gd name="T32" fmla="*/ 219 w 240"/>
                <a:gd name="T33" fmla="*/ 49 h 240"/>
                <a:gd name="T34" fmla="*/ 219 w 240"/>
                <a:gd name="T35" fmla="*/ 55 h 240"/>
                <a:gd name="T36" fmla="*/ 206 w 240"/>
                <a:gd name="T37" fmla="*/ 96 h 240"/>
                <a:gd name="T38" fmla="*/ 240 w 240"/>
                <a:gd name="T39" fmla="*/ 100 h 240"/>
                <a:gd name="T40" fmla="*/ 236 w 240"/>
                <a:gd name="T41" fmla="*/ 136 h 240"/>
                <a:gd name="T42" fmla="*/ 198 w 240"/>
                <a:gd name="T43" fmla="*/ 164 h 240"/>
                <a:gd name="T44" fmla="*/ 219 w 240"/>
                <a:gd name="T45" fmla="*/ 191 h 240"/>
                <a:gd name="T46" fmla="*/ 185 w 240"/>
                <a:gd name="T47" fmla="*/ 219 h 240"/>
                <a:gd name="T48" fmla="*/ 149 w 240"/>
                <a:gd name="T49" fmla="*/ 204 h 240"/>
                <a:gd name="T50" fmla="*/ 144 w 240"/>
                <a:gd name="T51" fmla="*/ 236 h 240"/>
                <a:gd name="T52" fmla="*/ 104 w 240"/>
                <a:gd name="T53" fmla="*/ 232 h 240"/>
                <a:gd name="T54" fmla="*/ 136 w 240"/>
                <a:gd name="T55" fmla="*/ 203 h 240"/>
                <a:gd name="T56" fmla="*/ 146 w 240"/>
                <a:gd name="T57" fmla="*/ 196 h 240"/>
                <a:gd name="T58" fmla="*/ 167 w 240"/>
                <a:gd name="T59" fmla="*/ 190 h 240"/>
                <a:gd name="T60" fmla="*/ 211 w 240"/>
                <a:gd name="T61" fmla="*/ 188 h 240"/>
                <a:gd name="T62" fmla="*/ 190 w 240"/>
                <a:gd name="T63" fmla="*/ 163 h 240"/>
                <a:gd name="T64" fmla="*/ 199 w 240"/>
                <a:gd name="T65" fmla="*/ 132 h 240"/>
                <a:gd name="T66" fmla="*/ 232 w 240"/>
                <a:gd name="T67" fmla="*/ 128 h 240"/>
                <a:gd name="T68" fmla="*/ 203 w 240"/>
                <a:gd name="T69" fmla="*/ 104 h 240"/>
                <a:gd name="T70" fmla="*/ 190 w 240"/>
                <a:gd name="T71" fmla="*/ 77 h 240"/>
                <a:gd name="T72" fmla="*/ 211 w 240"/>
                <a:gd name="T73" fmla="*/ 52 h 240"/>
                <a:gd name="T74" fmla="*/ 167 w 240"/>
                <a:gd name="T75" fmla="*/ 50 h 240"/>
                <a:gd name="T76" fmla="*/ 139 w 240"/>
                <a:gd name="T77" fmla="*/ 41 h 240"/>
                <a:gd name="T78" fmla="*/ 136 w 240"/>
                <a:gd name="T79" fmla="*/ 8 h 240"/>
                <a:gd name="T80" fmla="*/ 104 w 240"/>
                <a:gd name="T81" fmla="*/ 37 h 240"/>
                <a:gd name="T82" fmla="*/ 77 w 240"/>
                <a:gd name="T83" fmla="*/ 50 h 240"/>
                <a:gd name="T84" fmla="*/ 52 w 240"/>
                <a:gd name="T85" fmla="*/ 29 h 240"/>
                <a:gd name="T86" fmla="*/ 50 w 240"/>
                <a:gd name="T87" fmla="*/ 73 h 240"/>
                <a:gd name="T88" fmla="*/ 41 w 240"/>
                <a:gd name="T89" fmla="*/ 101 h 240"/>
                <a:gd name="T90" fmla="*/ 8 w 240"/>
                <a:gd name="T91" fmla="*/ 104 h 240"/>
                <a:gd name="T92" fmla="*/ 37 w 240"/>
                <a:gd name="T93" fmla="*/ 128 h 240"/>
                <a:gd name="T94" fmla="*/ 50 w 240"/>
                <a:gd name="T95" fmla="*/ 163 h 240"/>
                <a:gd name="T96" fmla="*/ 29 w 240"/>
                <a:gd name="T97" fmla="*/ 188 h 240"/>
                <a:gd name="T98" fmla="*/ 73 w 240"/>
                <a:gd name="T99" fmla="*/ 190 h 240"/>
                <a:gd name="T100" fmla="*/ 94 w 240"/>
                <a:gd name="T101" fmla="*/ 196 h 240"/>
                <a:gd name="T102" fmla="*/ 104 w 240"/>
                <a:gd name="T103" fmla="*/ 203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40" h="240">
                  <a:moveTo>
                    <a:pt x="140" y="240"/>
                  </a:moveTo>
                  <a:cubicBezTo>
                    <a:pt x="100" y="240"/>
                    <a:pt x="100" y="240"/>
                    <a:pt x="100" y="240"/>
                  </a:cubicBezTo>
                  <a:cubicBezTo>
                    <a:pt x="98" y="240"/>
                    <a:pt x="96" y="238"/>
                    <a:pt x="96" y="236"/>
                  </a:cubicBezTo>
                  <a:cubicBezTo>
                    <a:pt x="96" y="206"/>
                    <a:pt x="96" y="206"/>
                    <a:pt x="96" y="206"/>
                  </a:cubicBezTo>
                  <a:cubicBezTo>
                    <a:pt x="95" y="205"/>
                    <a:pt x="93" y="205"/>
                    <a:pt x="91" y="204"/>
                  </a:cubicBezTo>
                  <a:cubicBezTo>
                    <a:pt x="86" y="202"/>
                    <a:pt x="81" y="200"/>
                    <a:pt x="76" y="198"/>
                  </a:cubicBezTo>
                  <a:cubicBezTo>
                    <a:pt x="55" y="219"/>
                    <a:pt x="55" y="219"/>
                    <a:pt x="55" y="219"/>
                  </a:cubicBezTo>
                  <a:cubicBezTo>
                    <a:pt x="54" y="221"/>
                    <a:pt x="51" y="221"/>
                    <a:pt x="49" y="219"/>
                  </a:cubicBezTo>
                  <a:cubicBezTo>
                    <a:pt x="21" y="191"/>
                    <a:pt x="21" y="191"/>
                    <a:pt x="21" y="191"/>
                  </a:cubicBezTo>
                  <a:cubicBezTo>
                    <a:pt x="20" y="190"/>
                    <a:pt x="20" y="189"/>
                    <a:pt x="20" y="188"/>
                  </a:cubicBezTo>
                  <a:cubicBezTo>
                    <a:pt x="20" y="187"/>
                    <a:pt x="20" y="186"/>
                    <a:pt x="21" y="185"/>
                  </a:cubicBezTo>
                  <a:cubicBezTo>
                    <a:pt x="42" y="164"/>
                    <a:pt x="42" y="164"/>
                    <a:pt x="42" y="164"/>
                  </a:cubicBezTo>
                  <a:cubicBezTo>
                    <a:pt x="38" y="157"/>
                    <a:pt x="35" y="146"/>
                    <a:pt x="33" y="136"/>
                  </a:cubicBezTo>
                  <a:cubicBezTo>
                    <a:pt x="4" y="136"/>
                    <a:pt x="4" y="136"/>
                    <a:pt x="4" y="136"/>
                  </a:cubicBezTo>
                  <a:cubicBezTo>
                    <a:pt x="2" y="136"/>
                    <a:pt x="0" y="134"/>
                    <a:pt x="0" y="132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98"/>
                    <a:pt x="2" y="96"/>
                    <a:pt x="4" y="96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5" y="91"/>
                    <a:pt x="39" y="82"/>
                    <a:pt x="42" y="76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19" y="54"/>
                    <a:pt x="19" y="51"/>
                    <a:pt x="21" y="49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51" y="19"/>
                    <a:pt x="54" y="19"/>
                    <a:pt x="55" y="21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82" y="38"/>
                    <a:pt x="91" y="35"/>
                    <a:pt x="96" y="34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6" y="2"/>
                    <a:pt x="98" y="0"/>
                    <a:pt x="100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2" y="0"/>
                    <a:pt x="144" y="2"/>
                    <a:pt x="144" y="4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9" y="35"/>
                    <a:pt x="158" y="38"/>
                    <a:pt x="164" y="42"/>
                  </a:cubicBezTo>
                  <a:cubicBezTo>
                    <a:pt x="185" y="21"/>
                    <a:pt x="185" y="21"/>
                    <a:pt x="185" y="21"/>
                  </a:cubicBezTo>
                  <a:cubicBezTo>
                    <a:pt x="186" y="19"/>
                    <a:pt x="189" y="19"/>
                    <a:pt x="191" y="21"/>
                  </a:cubicBezTo>
                  <a:cubicBezTo>
                    <a:pt x="219" y="49"/>
                    <a:pt x="219" y="49"/>
                    <a:pt x="219" y="49"/>
                  </a:cubicBezTo>
                  <a:cubicBezTo>
                    <a:pt x="220" y="50"/>
                    <a:pt x="220" y="51"/>
                    <a:pt x="220" y="52"/>
                  </a:cubicBezTo>
                  <a:cubicBezTo>
                    <a:pt x="220" y="53"/>
                    <a:pt x="220" y="54"/>
                    <a:pt x="219" y="55"/>
                  </a:cubicBezTo>
                  <a:cubicBezTo>
                    <a:pt x="198" y="76"/>
                    <a:pt x="198" y="76"/>
                    <a:pt x="198" y="76"/>
                  </a:cubicBezTo>
                  <a:cubicBezTo>
                    <a:pt x="202" y="82"/>
                    <a:pt x="204" y="89"/>
                    <a:pt x="206" y="96"/>
                  </a:cubicBezTo>
                  <a:cubicBezTo>
                    <a:pt x="236" y="96"/>
                    <a:pt x="236" y="96"/>
                    <a:pt x="236" y="96"/>
                  </a:cubicBezTo>
                  <a:cubicBezTo>
                    <a:pt x="238" y="96"/>
                    <a:pt x="240" y="98"/>
                    <a:pt x="240" y="100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40" y="134"/>
                    <a:pt x="238" y="136"/>
                    <a:pt x="236" y="136"/>
                  </a:cubicBezTo>
                  <a:cubicBezTo>
                    <a:pt x="207" y="136"/>
                    <a:pt x="207" y="136"/>
                    <a:pt x="207" y="136"/>
                  </a:cubicBezTo>
                  <a:cubicBezTo>
                    <a:pt x="205" y="152"/>
                    <a:pt x="202" y="158"/>
                    <a:pt x="198" y="164"/>
                  </a:cubicBezTo>
                  <a:cubicBezTo>
                    <a:pt x="219" y="185"/>
                    <a:pt x="219" y="185"/>
                    <a:pt x="219" y="185"/>
                  </a:cubicBezTo>
                  <a:cubicBezTo>
                    <a:pt x="221" y="186"/>
                    <a:pt x="221" y="189"/>
                    <a:pt x="219" y="191"/>
                  </a:cubicBezTo>
                  <a:cubicBezTo>
                    <a:pt x="191" y="219"/>
                    <a:pt x="191" y="219"/>
                    <a:pt x="191" y="219"/>
                  </a:cubicBezTo>
                  <a:cubicBezTo>
                    <a:pt x="189" y="221"/>
                    <a:pt x="186" y="221"/>
                    <a:pt x="185" y="219"/>
                  </a:cubicBezTo>
                  <a:cubicBezTo>
                    <a:pt x="164" y="198"/>
                    <a:pt x="164" y="198"/>
                    <a:pt x="164" y="198"/>
                  </a:cubicBezTo>
                  <a:cubicBezTo>
                    <a:pt x="159" y="200"/>
                    <a:pt x="154" y="202"/>
                    <a:pt x="149" y="204"/>
                  </a:cubicBezTo>
                  <a:cubicBezTo>
                    <a:pt x="147" y="205"/>
                    <a:pt x="145" y="205"/>
                    <a:pt x="144" y="206"/>
                  </a:cubicBezTo>
                  <a:cubicBezTo>
                    <a:pt x="144" y="236"/>
                    <a:pt x="144" y="236"/>
                    <a:pt x="144" y="236"/>
                  </a:cubicBezTo>
                  <a:cubicBezTo>
                    <a:pt x="144" y="238"/>
                    <a:pt x="142" y="240"/>
                    <a:pt x="140" y="240"/>
                  </a:cubicBezTo>
                  <a:close/>
                  <a:moveTo>
                    <a:pt x="104" y="232"/>
                  </a:moveTo>
                  <a:cubicBezTo>
                    <a:pt x="136" y="232"/>
                    <a:pt x="136" y="232"/>
                    <a:pt x="136" y="232"/>
                  </a:cubicBezTo>
                  <a:cubicBezTo>
                    <a:pt x="136" y="203"/>
                    <a:pt x="136" y="203"/>
                    <a:pt x="136" y="203"/>
                  </a:cubicBezTo>
                  <a:cubicBezTo>
                    <a:pt x="136" y="202"/>
                    <a:pt x="137" y="200"/>
                    <a:pt x="138" y="200"/>
                  </a:cubicBezTo>
                  <a:cubicBezTo>
                    <a:pt x="140" y="199"/>
                    <a:pt x="143" y="198"/>
                    <a:pt x="146" y="196"/>
                  </a:cubicBezTo>
                  <a:cubicBezTo>
                    <a:pt x="152" y="195"/>
                    <a:pt x="158" y="192"/>
                    <a:pt x="163" y="190"/>
                  </a:cubicBezTo>
                  <a:cubicBezTo>
                    <a:pt x="164" y="189"/>
                    <a:pt x="166" y="189"/>
                    <a:pt x="167" y="190"/>
                  </a:cubicBezTo>
                  <a:cubicBezTo>
                    <a:pt x="188" y="211"/>
                    <a:pt x="188" y="211"/>
                    <a:pt x="188" y="211"/>
                  </a:cubicBezTo>
                  <a:cubicBezTo>
                    <a:pt x="211" y="188"/>
                    <a:pt x="211" y="188"/>
                    <a:pt x="211" y="188"/>
                  </a:cubicBezTo>
                  <a:cubicBezTo>
                    <a:pt x="190" y="167"/>
                    <a:pt x="190" y="167"/>
                    <a:pt x="190" y="167"/>
                  </a:cubicBezTo>
                  <a:cubicBezTo>
                    <a:pt x="189" y="166"/>
                    <a:pt x="189" y="164"/>
                    <a:pt x="190" y="163"/>
                  </a:cubicBezTo>
                  <a:cubicBezTo>
                    <a:pt x="190" y="162"/>
                    <a:pt x="190" y="162"/>
                    <a:pt x="190" y="162"/>
                  </a:cubicBezTo>
                  <a:cubicBezTo>
                    <a:pt x="194" y="155"/>
                    <a:pt x="197" y="150"/>
                    <a:pt x="199" y="132"/>
                  </a:cubicBezTo>
                  <a:cubicBezTo>
                    <a:pt x="199" y="130"/>
                    <a:pt x="201" y="128"/>
                    <a:pt x="203" y="128"/>
                  </a:cubicBezTo>
                  <a:cubicBezTo>
                    <a:pt x="232" y="128"/>
                    <a:pt x="232" y="128"/>
                    <a:pt x="232" y="128"/>
                  </a:cubicBezTo>
                  <a:cubicBezTo>
                    <a:pt x="232" y="104"/>
                    <a:pt x="232" y="104"/>
                    <a:pt x="232" y="104"/>
                  </a:cubicBezTo>
                  <a:cubicBezTo>
                    <a:pt x="203" y="104"/>
                    <a:pt x="203" y="104"/>
                    <a:pt x="203" y="104"/>
                  </a:cubicBezTo>
                  <a:cubicBezTo>
                    <a:pt x="201" y="104"/>
                    <a:pt x="200" y="103"/>
                    <a:pt x="199" y="101"/>
                  </a:cubicBezTo>
                  <a:cubicBezTo>
                    <a:pt x="197" y="93"/>
                    <a:pt x="194" y="84"/>
                    <a:pt x="190" y="77"/>
                  </a:cubicBezTo>
                  <a:cubicBezTo>
                    <a:pt x="189" y="76"/>
                    <a:pt x="189" y="74"/>
                    <a:pt x="190" y="73"/>
                  </a:cubicBezTo>
                  <a:cubicBezTo>
                    <a:pt x="211" y="52"/>
                    <a:pt x="211" y="52"/>
                    <a:pt x="211" y="52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67" y="50"/>
                    <a:pt x="167" y="50"/>
                    <a:pt x="167" y="50"/>
                  </a:cubicBezTo>
                  <a:cubicBezTo>
                    <a:pt x="166" y="51"/>
                    <a:pt x="164" y="51"/>
                    <a:pt x="163" y="50"/>
                  </a:cubicBezTo>
                  <a:cubicBezTo>
                    <a:pt x="155" y="46"/>
                    <a:pt x="143" y="41"/>
                    <a:pt x="139" y="41"/>
                  </a:cubicBezTo>
                  <a:cubicBezTo>
                    <a:pt x="137" y="40"/>
                    <a:pt x="136" y="39"/>
                    <a:pt x="136" y="37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9"/>
                    <a:pt x="103" y="40"/>
                    <a:pt x="101" y="41"/>
                  </a:cubicBezTo>
                  <a:cubicBezTo>
                    <a:pt x="96" y="42"/>
                    <a:pt x="85" y="46"/>
                    <a:pt x="77" y="50"/>
                  </a:cubicBezTo>
                  <a:cubicBezTo>
                    <a:pt x="76" y="51"/>
                    <a:pt x="74" y="51"/>
                    <a:pt x="73" y="50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1" y="74"/>
                    <a:pt x="51" y="76"/>
                    <a:pt x="50" y="77"/>
                  </a:cubicBezTo>
                  <a:cubicBezTo>
                    <a:pt x="46" y="85"/>
                    <a:pt x="42" y="96"/>
                    <a:pt x="41" y="101"/>
                  </a:cubicBezTo>
                  <a:cubicBezTo>
                    <a:pt x="40" y="103"/>
                    <a:pt x="39" y="104"/>
                    <a:pt x="37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28"/>
                    <a:pt x="8" y="128"/>
                    <a:pt x="8" y="128"/>
                  </a:cubicBezTo>
                  <a:cubicBezTo>
                    <a:pt x="37" y="128"/>
                    <a:pt x="37" y="128"/>
                    <a:pt x="37" y="128"/>
                  </a:cubicBezTo>
                  <a:cubicBezTo>
                    <a:pt x="39" y="128"/>
                    <a:pt x="40" y="129"/>
                    <a:pt x="41" y="131"/>
                  </a:cubicBezTo>
                  <a:cubicBezTo>
                    <a:pt x="42" y="143"/>
                    <a:pt x="46" y="156"/>
                    <a:pt x="50" y="163"/>
                  </a:cubicBezTo>
                  <a:cubicBezTo>
                    <a:pt x="51" y="164"/>
                    <a:pt x="51" y="166"/>
                    <a:pt x="50" y="167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52" y="211"/>
                    <a:pt x="52" y="211"/>
                    <a:pt x="52" y="211"/>
                  </a:cubicBezTo>
                  <a:cubicBezTo>
                    <a:pt x="73" y="190"/>
                    <a:pt x="73" y="190"/>
                    <a:pt x="73" y="190"/>
                  </a:cubicBezTo>
                  <a:cubicBezTo>
                    <a:pt x="74" y="189"/>
                    <a:pt x="76" y="189"/>
                    <a:pt x="77" y="190"/>
                  </a:cubicBezTo>
                  <a:cubicBezTo>
                    <a:pt x="82" y="192"/>
                    <a:pt x="88" y="195"/>
                    <a:pt x="94" y="196"/>
                  </a:cubicBezTo>
                  <a:cubicBezTo>
                    <a:pt x="97" y="198"/>
                    <a:pt x="100" y="199"/>
                    <a:pt x="102" y="200"/>
                  </a:cubicBezTo>
                  <a:cubicBezTo>
                    <a:pt x="103" y="200"/>
                    <a:pt x="104" y="202"/>
                    <a:pt x="104" y="203"/>
                  </a:cubicBezTo>
                  <a:lnTo>
                    <a:pt x="104" y="2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 583">
              <a:extLst>
                <a:ext uri="{FF2B5EF4-FFF2-40B4-BE49-F238E27FC236}">
                  <a16:creationId xmlns:a16="http://schemas.microsoft.com/office/drawing/2014/main" id="{F22C5598-657B-0331-E9A5-4B154EF26CDC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0089" y="6607175"/>
              <a:ext cx="144463" cy="144463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8 h 96"/>
                <a:gd name="T12" fmla="*/ 8 w 96"/>
                <a:gd name="T13" fmla="*/ 48 h 96"/>
                <a:gd name="T14" fmla="*/ 48 w 96"/>
                <a:gd name="T15" fmla="*/ 88 h 96"/>
                <a:gd name="T16" fmla="*/ 88 w 96"/>
                <a:gd name="T17" fmla="*/ 48 h 96"/>
                <a:gd name="T18" fmla="*/ 48 w 96"/>
                <a:gd name="T19" fmla="*/ 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4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4" y="0"/>
                    <a:pt x="96" y="22"/>
                    <a:pt x="96" y="48"/>
                  </a:cubicBezTo>
                  <a:cubicBezTo>
                    <a:pt x="96" y="74"/>
                    <a:pt x="74" y="96"/>
                    <a:pt x="48" y="96"/>
                  </a:cubicBezTo>
                  <a:close/>
                  <a:moveTo>
                    <a:pt x="48" y="8"/>
                  </a:moveTo>
                  <a:cubicBezTo>
                    <a:pt x="26" y="8"/>
                    <a:pt x="8" y="26"/>
                    <a:pt x="8" y="48"/>
                  </a:cubicBezTo>
                  <a:cubicBezTo>
                    <a:pt x="8" y="70"/>
                    <a:pt x="26" y="88"/>
                    <a:pt x="48" y="88"/>
                  </a:cubicBezTo>
                  <a:cubicBezTo>
                    <a:pt x="70" y="88"/>
                    <a:pt x="88" y="70"/>
                    <a:pt x="88" y="48"/>
                  </a:cubicBezTo>
                  <a:cubicBezTo>
                    <a:pt x="88" y="26"/>
                    <a:pt x="70" y="8"/>
                    <a:pt x="4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40" name="Gruppieren 143">
            <a:extLst>
              <a:ext uri="{FF2B5EF4-FFF2-40B4-BE49-F238E27FC236}">
                <a16:creationId xmlns:a16="http://schemas.microsoft.com/office/drawing/2014/main" id="{E39F3957-8758-2138-EA1C-2B6941893574}"/>
              </a:ext>
            </a:extLst>
          </p:cNvPr>
          <p:cNvGrpSpPr>
            <a:grpSpLocks/>
          </p:cNvGrpSpPr>
          <p:nvPr/>
        </p:nvGrpSpPr>
        <p:grpSpPr bwMode="gray">
          <a:xfrm>
            <a:off x="2416998" y="4643332"/>
            <a:ext cx="174960" cy="174960"/>
            <a:chOff x="1862139" y="6499225"/>
            <a:chExt cx="360363" cy="360363"/>
          </a:xfrm>
          <a:solidFill>
            <a:schemeClr val="accent6"/>
          </a:solidFill>
        </p:grpSpPr>
        <p:sp>
          <p:nvSpPr>
            <p:cNvPr id="141" name="Freeform 582">
              <a:extLst>
                <a:ext uri="{FF2B5EF4-FFF2-40B4-BE49-F238E27FC236}">
                  <a16:creationId xmlns:a16="http://schemas.microsoft.com/office/drawing/2014/main" id="{38823B0E-B2B1-5583-625D-EA1C24E10FF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62139" y="6499225"/>
              <a:ext cx="360363" cy="360363"/>
            </a:xfrm>
            <a:custGeom>
              <a:avLst/>
              <a:gdLst>
                <a:gd name="T0" fmla="*/ 100 w 240"/>
                <a:gd name="T1" fmla="*/ 240 h 240"/>
                <a:gd name="T2" fmla="*/ 96 w 240"/>
                <a:gd name="T3" fmla="*/ 206 h 240"/>
                <a:gd name="T4" fmla="*/ 76 w 240"/>
                <a:gd name="T5" fmla="*/ 198 h 240"/>
                <a:gd name="T6" fmla="*/ 49 w 240"/>
                <a:gd name="T7" fmla="*/ 219 h 240"/>
                <a:gd name="T8" fmla="*/ 20 w 240"/>
                <a:gd name="T9" fmla="*/ 188 h 240"/>
                <a:gd name="T10" fmla="*/ 42 w 240"/>
                <a:gd name="T11" fmla="*/ 164 h 240"/>
                <a:gd name="T12" fmla="*/ 4 w 240"/>
                <a:gd name="T13" fmla="*/ 136 h 240"/>
                <a:gd name="T14" fmla="*/ 0 w 240"/>
                <a:gd name="T15" fmla="*/ 100 h 240"/>
                <a:gd name="T16" fmla="*/ 34 w 240"/>
                <a:gd name="T17" fmla="*/ 96 h 240"/>
                <a:gd name="T18" fmla="*/ 21 w 240"/>
                <a:gd name="T19" fmla="*/ 55 h 240"/>
                <a:gd name="T20" fmla="*/ 49 w 240"/>
                <a:gd name="T21" fmla="*/ 21 h 240"/>
                <a:gd name="T22" fmla="*/ 76 w 240"/>
                <a:gd name="T23" fmla="*/ 42 h 240"/>
                <a:gd name="T24" fmla="*/ 96 w 240"/>
                <a:gd name="T25" fmla="*/ 4 h 240"/>
                <a:gd name="T26" fmla="*/ 140 w 240"/>
                <a:gd name="T27" fmla="*/ 0 h 240"/>
                <a:gd name="T28" fmla="*/ 144 w 240"/>
                <a:gd name="T29" fmla="*/ 34 h 240"/>
                <a:gd name="T30" fmla="*/ 185 w 240"/>
                <a:gd name="T31" fmla="*/ 21 h 240"/>
                <a:gd name="T32" fmla="*/ 219 w 240"/>
                <a:gd name="T33" fmla="*/ 49 h 240"/>
                <a:gd name="T34" fmla="*/ 219 w 240"/>
                <a:gd name="T35" fmla="*/ 55 h 240"/>
                <a:gd name="T36" fmla="*/ 206 w 240"/>
                <a:gd name="T37" fmla="*/ 96 h 240"/>
                <a:gd name="T38" fmla="*/ 240 w 240"/>
                <a:gd name="T39" fmla="*/ 100 h 240"/>
                <a:gd name="T40" fmla="*/ 236 w 240"/>
                <a:gd name="T41" fmla="*/ 136 h 240"/>
                <a:gd name="T42" fmla="*/ 198 w 240"/>
                <a:gd name="T43" fmla="*/ 164 h 240"/>
                <a:gd name="T44" fmla="*/ 219 w 240"/>
                <a:gd name="T45" fmla="*/ 191 h 240"/>
                <a:gd name="T46" fmla="*/ 185 w 240"/>
                <a:gd name="T47" fmla="*/ 219 h 240"/>
                <a:gd name="T48" fmla="*/ 149 w 240"/>
                <a:gd name="T49" fmla="*/ 204 h 240"/>
                <a:gd name="T50" fmla="*/ 144 w 240"/>
                <a:gd name="T51" fmla="*/ 236 h 240"/>
                <a:gd name="T52" fmla="*/ 104 w 240"/>
                <a:gd name="T53" fmla="*/ 232 h 240"/>
                <a:gd name="T54" fmla="*/ 136 w 240"/>
                <a:gd name="T55" fmla="*/ 203 h 240"/>
                <a:gd name="T56" fmla="*/ 146 w 240"/>
                <a:gd name="T57" fmla="*/ 196 h 240"/>
                <a:gd name="T58" fmla="*/ 167 w 240"/>
                <a:gd name="T59" fmla="*/ 190 h 240"/>
                <a:gd name="T60" fmla="*/ 211 w 240"/>
                <a:gd name="T61" fmla="*/ 188 h 240"/>
                <a:gd name="T62" fmla="*/ 190 w 240"/>
                <a:gd name="T63" fmla="*/ 163 h 240"/>
                <a:gd name="T64" fmla="*/ 199 w 240"/>
                <a:gd name="T65" fmla="*/ 132 h 240"/>
                <a:gd name="T66" fmla="*/ 232 w 240"/>
                <a:gd name="T67" fmla="*/ 128 h 240"/>
                <a:gd name="T68" fmla="*/ 203 w 240"/>
                <a:gd name="T69" fmla="*/ 104 h 240"/>
                <a:gd name="T70" fmla="*/ 190 w 240"/>
                <a:gd name="T71" fmla="*/ 77 h 240"/>
                <a:gd name="T72" fmla="*/ 211 w 240"/>
                <a:gd name="T73" fmla="*/ 52 h 240"/>
                <a:gd name="T74" fmla="*/ 167 w 240"/>
                <a:gd name="T75" fmla="*/ 50 h 240"/>
                <a:gd name="T76" fmla="*/ 139 w 240"/>
                <a:gd name="T77" fmla="*/ 41 h 240"/>
                <a:gd name="T78" fmla="*/ 136 w 240"/>
                <a:gd name="T79" fmla="*/ 8 h 240"/>
                <a:gd name="T80" fmla="*/ 104 w 240"/>
                <a:gd name="T81" fmla="*/ 37 h 240"/>
                <a:gd name="T82" fmla="*/ 77 w 240"/>
                <a:gd name="T83" fmla="*/ 50 h 240"/>
                <a:gd name="T84" fmla="*/ 52 w 240"/>
                <a:gd name="T85" fmla="*/ 29 h 240"/>
                <a:gd name="T86" fmla="*/ 50 w 240"/>
                <a:gd name="T87" fmla="*/ 73 h 240"/>
                <a:gd name="T88" fmla="*/ 41 w 240"/>
                <a:gd name="T89" fmla="*/ 101 h 240"/>
                <a:gd name="T90" fmla="*/ 8 w 240"/>
                <a:gd name="T91" fmla="*/ 104 h 240"/>
                <a:gd name="T92" fmla="*/ 37 w 240"/>
                <a:gd name="T93" fmla="*/ 128 h 240"/>
                <a:gd name="T94" fmla="*/ 50 w 240"/>
                <a:gd name="T95" fmla="*/ 163 h 240"/>
                <a:gd name="T96" fmla="*/ 29 w 240"/>
                <a:gd name="T97" fmla="*/ 188 h 240"/>
                <a:gd name="T98" fmla="*/ 73 w 240"/>
                <a:gd name="T99" fmla="*/ 190 h 240"/>
                <a:gd name="T100" fmla="*/ 94 w 240"/>
                <a:gd name="T101" fmla="*/ 196 h 240"/>
                <a:gd name="T102" fmla="*/ 104 w 240"/>
                <a:gd name="T103" fmla="*/ 203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40" h="240">
                  <a:moveTo>
                    <a:pt x="140" y="240"/>
                  </a:moveTo>
                  <a:cubicBezTo>
                    <a:pt x="100" y="240"/>
                    <a:pt x="100" y="240"/>
                    <a:pt x="100" y="240"/>
                  </a:cubicBezTo>
                  <a:cubicBezTo>
                    <a:pt x="98" y="240"/>
                    <a:pt x="96" y="238"/>
                    <a:pt x="96" y="236"/>
                  </a:cubicBezTo>
                  <a:cubicBezTo>
                    <a:pt x="96" y="206"/>
                    <a:pt x="96" y="206"/>
                    <a:pt x="96" y="206"/>
                  </a:cubicBezTo>
                  <a:cubicBezTo>
                    <a:pt x="95" y="205"/>
                    <a:pt x="93" y="205"/>
                    <a:pt x="91" y="204"/>
                  </a:cubicBezTo>
                  <a:cubicBezTo>
                    <a:pt x="86" y="202"/>
                    <a:pt x="81" y="200"/>
                    <a:pt x="76" y="198"/>
                  </a:cubicBezTo>
                  <a:cubicBezTo>
                    <a:pt x="55" y="219"/>
                    <a:pt x="55" y="219"/>
                    <a:pt x="55" y="219"/>
                  </a:cubicBezTo>
                  <a:cubicBezTo>
                    <a:pt x="54" y="221"/>
                    <a:pt x="51" y="221"/>
                    <a:pt x="49" y="219"/>
                  </a:cubicBezTo>
                  <a:cubicBezTo>
                    <a:pt x="21" y="191"/>
                    <a:pt x="21" y="191"/>
                    <a:pt x="21" y="191"/>
                  </a:cubicBezTo>
                  <a:cubicBezTo>
                    <a:pt x="20" y="190"/>
                    <a:pt x="20" y="189"/>
                    <a:pt x="20" y="188"/>
                  </a:cubicBezTo>
                  <a:cubicBezTo>
                    <a:pt x="20" y="187"/>
                    <a:pt x="20" y="186"/>
                    <a:pt x="21" y="185"/>
                  </a:cubicBezTo>
                  <a:cubicBezTo>
                    <a:pt x="42" y="164"/>
                    <a:pt x="42" y="164"/>
                    <a:pt x="42" y="164"/>
                  </a:cubicBezTo>
                  <a:cubicBezTo>
                    <a:pt x="38" y="157"/>
                    <a:pt x="35" y="146"/>
                    <a:pt x="33" y="136"/>
                  </a:cubicBezTo>
                  <a:cubicBezTo>
                    <a:pt x="4" y="136"/>
                    <a:pt x="4" y="136"/>
                    <a:pt x="4" y="136"/>
                  </a:cubicBezTo>
                  <a:cubicBezTo>
                    <a:pt x="2" y="136"/>
                    <a:pt x="0" y="134"/>
                    <a:pt x="0" y="132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98"/>
                    <a:pt x="2" y="96"/>
                    <a:pt x="4" y="96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5" y="91"/>
                    <a:pt x="39" y="82"/>
                    <a:pt x="42" y="76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19" y="54"/>
                    <a:pt x="19" y="51"/>
                    <a:pt x="21" y="49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51" y="19"/>
                    <a:pt x="54" y="19"/>
                    <a:pt x="55" y="21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82" y="38"/>
                    <a:pt x="91" y="35"/>
                    <a:pt x="96" y="34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6" y="2"/>
                    <a:pt x="98" y="0"/>
                    <a:pt x="100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2" y="0"/>
                    <a:pt x="144" y="2"/>
                    <a:pt x="144" y="4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9" y="35"/>
                    <a:pt x="158" y="38"/>
                    <a:pt x="164" y="42"/>
                  </a:cubicBezTo>
                  <a:cubicBezTo>
                    <a:pt x="185" y="21"/>
                    <a:pt x="185" y="21"/>
                    <a:pt x="185" y="21"/>
                  </a:cubicBezTo>
                  <a:cubicBezTo>
                    <a:pt x="186" y="19"/>
                    <a:pt x="189" y="19"/>
                    <a:pt x="191" y="21"/>
                  </a:cubicBezTo>
                  <a:cubicBezTo>
                    <a:pt x="219" y="49"/>
                    <a:pt x="219" y="49"/>
                    <a:pt x="219" y="49"/>
                  </a:cubicBezTo>
                  <a:cubicBezTo>
                    <a:pt x="220" y="50"/>
                    <a:pt x="220" y="51"/>
                    <a:pt x="220" y="52"/>
                  </a:cubicBezTo>
                  <a:cubicBezTo>
                    <a:pt x="220" y="53"/>
                    <a:pt x="220" y="54"/>
                    <a:pt x="219" y="55"/>
                  </a:cubicBezTo>
                  <a:cubicBezTo>
                    <a:pt x="198" y="76"/>
                    <a:pt x="198" y="76"/>
                    <a:pt x="198" y="76"/>
                  </a:cubicBezTo>
                  <a:cubicBezTo>
                    <a:pt x="202" y="82"/>
                    <a:pt x="204" y="89"/>
                    <a:pt x="206" y="96"/>
                  </a:cubicBezTo>
                  <a:cubicBezTo>
                    <a:pt x="236" y="96"/>
                    <a:pt x="236" y="96"/>
                    <a:pt x="236" y="96"/>
                  </a:cubicBezTo>
                  <a:cubicBezTo>
                    <a:pt x="238" y="96"/>
                    <a:pt x="240" y="98"/>
                    <a:pt x="240" y="100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40" y="134"/>
                    <a:pt x="238" y="136"/>
                    <a:pt x="236" y="136"/>
                  </a:cubicBezTo>
                  <a:cubicBezTo>
                    <a:pt x="207" y="136"/>
                    <a:pt x="207" y="136"/>
                    <a:pt x="207" y="136"/>
                  </a:cubicBezTo>
                  <a:cubicBezTo>
                    <a:pt x="205" y="152"/>
                    <a:pt x="202" y="158"/>
                    <a:pt x="198" y="164"/>
                  </a:cubicBezTo>
                  <a:cubicBezTo>
                    <a:pt x="219" y="185"/>
                    <a:pt x="219" y="185"/>
                    <a:pt x="219" y="185"/>
                  </a:cubicBezTo>
                  <a:cubicBezTo>
                    <a:pt x="221" y="186"/>
                    <a:pt x="221" y="189"/>
                    <a:pt x="219" y="191"/>
                  </a:cubicBezTo>
                  <a:cubicBezTo>
                    <a:pt x="191" y="219"/>
                    <a:pt x="191" y="219"/>
                    <a:pt x="191" y="219"/>
                  </a:cubicBezTo>
                  <a:cubicBezTo>
                    <a:pt x="189" y="221"/>
                    <a:pt x="186" y="221"/>
                    <a:pt x="185" y="219"/>
                  </a:cubicBezTo>
                  <a:cubicBezTo>
                    <a:pt x="164" y="198"/>
                    <a:pt x="164" y="198"/>
                    <a:pt x="164" y="198"/>
                  </a:cubicBezTo>
                  <a:cubicBezTo>
                    <a:pt x="159" y="200"/>
                    <a:pt x="154" y="202"/>
                    <a:pt x="149" y="204"/>
                  </a:cubicBezTo>
                  <a:cubicBezTo>
                    <a:pt x="147" y="205"/>
                    <a:pt x="145" y="205"/>
                    <a:pt x="144" y="206"/>
                  </a:cubicBezTo>
                  <a:cubicBezTo>
                    <a:pt x="144" y="236"/>
                    <a:pt x="144" y="236"/>
                    <a:pt x="144" y="236"/>
                  </a:cubicBezTo>
                  <a:cubicBezTo>
                    <a:pt x="144" y="238"/>
                    <a:pt x="142" y="240"/>
                    <a:pt x="140" y="240"/>
                  </a:cubicBezTo>
                  <a:close/>
                  <a:moveTo>
                    <a:pt x="104" y="232"/>
                  </a:moveTo>
                  <a:cubicBezTo>
                    <a:pt x="136" y="232"/>
                    <a:pt x="136" y="232"/>
                    <a:pt x="136" y="232"/>
                  </a:cubicBezTo>
                  <a:cubicBezTo>
                    <a:pt x="136" y="203"/>
                    <a:pt x="136" y="203"/>
                    <a:pt x="136" y="203"/>
                  </a:cubicBezTo>
                  <a:cubicBezTo>
                    <a:pt x="136" y="202"/>
                    <a:pt x="137" y="200"/>
                    <a:pt x="138" y="200"/>
                  </a:cubicBezTo>
                  <a:cubicBezTo>
                    <a:pt x="140" y="199"/>
                    <a:pt x="143" y="198"/>
                    <a:pt x="146" y="196"/>
                  </a:cubicBezTo>
                  <a:cubicBezTo>
                    <a:pt x="152" y="195"/>
                    <a:pt x="158" y="192"/>
                    <a:pt x="163" y="190"/>
                  </a:cubicBezTo>
                  <a:cubicBezTo>
                    <a:pt x="164" y="189"/>
                    <a:pt x="166" y="189"/>
                    <a:pt x="167" y="190"/>
                  </a:cubicBezTo>
                  <a:cubicBezTo>
                    <a:pt x="188" y="211"/>
                    <a:pt x="188" y="211"/>
                    <a:pt x="188" y="211"/>
                  </a:cubicBezTo>
                  <a:cubicBezTo>
                    <a:pt x="211" y="188"/>
                    <a:pt x="211" y="188"/>
                    <a:pt x="211" y="188"/>
                  </a:cubicBezTo>
                  <a:cubicBezTo>
                    <a:pt x="190" y="167"/>
                    <a:pt x="190" y="167"/>
                    <a:pt x="190" y="167"/>
                  </a:cubicBezTo>
                  <a:cubicBezTo>
                    <a:pt x="189" y="166"/>
                    <a:pt x="189" y="164"/>
                    <a:pt x="190" y="163"/>
                  </a:cubicBezTo>
                  <a:cubicBezTo>
                    <a:pt x="190" y="162"/>
                    <a:pt x="190" y="162"/>
                    <a:pt x="190" y="162"/>
                  </a:cubicBezTo>
                  <a:cubicBezTo>
                    <a:pt x="194" y="155"/>
                    <a:pt x="197" y="150"/>
                    <a:pt x="199" y="132"/>
                  </a:cubicBezTo>
                  <a:cubicBezTo>
                    <a:pt x="199" y="130"/>
                    <a:pt x="201" y="128"/>
                    <a:pt x="203" y="128"/>
                  </a:cubicBezTo>
                  <a:cubicBezTo>
                    <a:pt x="232" y="128"/>
                    <a:pt x="232" y="128"/>
                    <a:pt x="232" y="128"/>
                  </a:cubicBezTo>
                  <a:cubicBezTo>
                    <a:pt x="232" y="104"/>
                    <a:pt x="232" y="104"/>
                    <a:pt x="232" y="104"/>
                  </a:cubicBezTo>
                  <a:cubicBezTo>
                    <a:pt x="203" y="104"/>
                    <a:pt x="203" y="104"/>
                    <a:pt x="203" y="104"/>
                  </a:cubicBezTo>
                  <a:cubicBezTo>
                    <a:pt x="201" y="104"/>
                    <a:pt x="200" y="103"/>
                    <a:pt x="199" y="101"/>
                  </a:cubicBezTo>
                  <a:cubicBezTo>
                    <a:pt x="197" y="93"/>
                    <a:pt x="194" y="84"/>
                    <a:pt x="190" y="77"/>
                  </a:cubicBezTo>
                  <a:cubicBezTo>
                    <a:pt x="189" y="76"/>
                    <a:pt x="189" y="74"/>
                    <a:pt x="190" y="73"/>
                  </a:cubicBezTo>
                  <a:cubicBezTo>
                    <a:pt x="211" y="52"/>
                    <a:pt x="211" y="52"/>
                    <a:pt x="211" y="52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67" y="50"/>
                    <a:pt x="167" y="50"/>
                    <a:pt x="167" y="50"/>
                  </a:cubicBezTo>
                  <a:cubicBezTo>
                    <a:pt x="166" y="51"/>
                    <a:pt x="164" y="51"/>
                    <a:pt x="163" y="50"/>
                  </a:cubicBezTo>
                  <a:cubicBezTo>
                    <a:pt x="155" y="46"/>
                    <a:pt x="143" y="41"/>
                    <a:pt x="139" y="41"/>
                  </a:cubicBezTo>
                  <a:cubicBezTo>
                    <a:pt x="137" y="40"/>
                    <a:pt x="136" y="39"/>
                    <a:pt x="136" y="37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9"/>
                    <a:pt x="103" y="40"/>
                    <a:pt x="101" y="41"/>
                  </a:cubicBezTo>
                  <a:cubicBezTo>
                    <a:pt x="96" y="42"/>
                    <a:pt x="85" y="46"/>
                    <a:pt x="77" y="50"/>
                  </a:cubicBezTo>
                  <a:cubicBezTo>
                    <a:pt x="76" y="51"/>
                    <a:pt x="74" y="51"/>
                    <a:pt x="73" y="50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1" y="74"/>
                    <a:pt x="51" y="76"/>
                    <a:pt x="50" y="77"/>
                  </a:cubicBezTo>
                  <a:cubicBezTo>
                    <a:pt x="46" y="85"/>
                    <a:pt x="42" y="96"/>
                    <a:pt x="41" y="101"/>
                  </a:cubicBezTo>
                  <a:cubicBezTo>
                    <a:pt x="40" y="103"/>
                    <a:pt x="39" y="104"/>
                    <a:pt x="37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28"/>
                    <a:pt x="8" y="128"/>
                    <a:pt x="8" y="128"/>
                  </a:cubicBezTo>
                  <a:cubicBezTo>
                    <a:pt x="37" y="128"/>
                    <a:pt x="37" y="128"/>
                    <a:pt x="37" y="128"/>
                  </a:cubicBezTo>
                  <a:cubicBezTo>
                    <a:pt x="39" y="128"/>
                    <a:pt x="40" y="129"/>
                    <a:pt x="41" y="131"/>
                  </a:cubicBezTo>
                  <a:cubicBezTo>
                    <a:pt x="42" y="143"/>
                    <a:pt x="46" y="156"/>
                    <a:pt x="50" y="163"/>
                  </a:cubicBezTo>
                  <a:cubicBezTo>
                    <a:pt x="51" y="164"/>
                    <a:pt x="51" y="166"/>
                    <a:pt x="50" y="167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52" y="211"/>
                    <a:pt x="52" y="211"/>
                    <a:pt x="52" y="211"/>
                  </a:cubicBezTo>
                  <a:cubicBezTo>
                    <a:pt x="73" y="190"/>
                    <a:pt x="73" y="190"/>
                    <a:pt x="73" y="190"/>
                  </a:cubicBezTo>
                  <a:cubicBezTo>
                    <a:pt x="74" y="189"/>
                    <a:pt x="76" y="189"/>
                    <a:pt x="77" y="190"/>
                  </a:cubicBezTo>
                  <a:cubicBezTo>
                    <a:pt x="82" y="192"/>
                    <a:pt x="88" y="195"/>
                    <a:pt x="94" y="196"/>
                  </a:cubicBezTo>
                  <a:cubicBezTo>
                    <a:pt x="97" y="198"/>
                    <a:pt x="100" y="199"/>
                    <a:pt x="102" y="200"/>
                  </a:cubicBezTo>
                  <a:cubicBezTo>
                    <a:pt x="103" y="200"/>
                    <a:pt x="104" y="202"/>
                    <a:pt x="104" y="203"/>
                  </a:cubicBezTo>
                  <a:lnTo>
                    <a:pt x="104" y="2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 583">
              <a:extLst>
                <a:ext uri="{FF2B5EF4-FFF2-40B4-BE49-F238E27FC236}">
                  <a16:creationId xmlns:a16="http://schemas.microsoft.com/office/drawing/2014/main" id="{CAC2E9CA-5247-9BF6-2655-B91A2372F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0089" y="6607175"/>
              <a:ext cx="144463" cy="144463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8 h 96"/>
                <a:gd name="T12" fmla="*/ 8 w 96"/>
                <a:gd name="T13" fmla="*/ 48 h 96"/>
                <a:gd name="T14" fmla="*/ 48 w 96"/>
                <a:gd name="T15" fmla="*/ 88 h 96"/>
                <a:gd name="T16" fmla="*/ 88 w 96"/>
                <a:gd name="T17" fmla="*/ 48 h 96"/>
                <a:gd name="T18" fmla="*/ 48 w 96"/>
                <a:gd name="T19" fmla="*/ 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4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4" y="0"/>
                    <a:pt x="96" y="22"/>
                    <a:pt x="96" y="48"/>
                  </a:cubicBezTo>
                  <a:cubicBezTo>
                    <a:pt x="96" y="74"/>
                    <a:pt x="74" y="96"/>
                    <a:pt x="48" y="96"/>
                  </a:cubicBezTo>
                  <a:close/>
                  <a:moveTo>
                    <a:pt x="48" y="8"/>
                  </a:moveTo>
                  <a:cubicBezTo>
                    <a:pt x="26" y="8"/>
                    <a:pt x="8" y="26"/>
                    <a:pt x="8" y="48"/>
                  </a:cubicBezTo>
                  <a:cubicBezTo>
                    <a:pt x="8" y="70"/>
                    <a:pt x="26" y="88"/>
                    <a:pt x="48" y="88"/>
                  </a:cubicBezTo>
                  <a:cubicBezTo>
                    <a:pt x="70" y="88"/>
                    <a:pt x="88" y="70"/>
                    <a:pt x="88" y="48"/>
                  </a:cubicBezTo>
                  <a:cubicBezTo>
                    <a:pt x="88" y="26"/>
                    <a:pt x="70" y="8"/>
                    <a:pt x="4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43" name="Gruppieren 146">
            <a:extLst>
              <a:ext uri="{FF2B5EF4-FFF2-40B4-BE49-F238E27FC236}">
                <a16:creationId xmlns:a16="http://schemas.microsoft.com/office/drawing/2014/main" id="{3F0CA02E-C7F5-6AB9-B74C-0518EF66F4F8}"/>
              </a:ext>
            </a:extLst>
          </p:cNvPr>
          <p:cNvGrpSpPr>
            <a:grpSpLocks/>
          </p:cNvGrpSpPr>
          <p:nvPr/>
        </p:nvGrpSpPr>
        <p:grpSpPr bwMode="gray">
          <a:xfrm>
            <a:off x="2669203" y="4643332"/>
            <a:ext cx="174960" cy="174960"/>
            <a:chOff x="1862139" y="6499225"/>
            <a:chExt cx="360363" cy="360363"/>
          </a:xfrm>
          <a:solidFill>
            <a:schemeClr val="accent6"/>
          </a:solidFill>
        </p:grpSpPr>
        <p:sp>
          <p:nvSpPr>
            <p:cNvPr id="144" name="Freeform 582">
              <a:extLst>
                <a:ext uri="{FF2B5EF4-FFF2-40B4-BE49-F238E27FC236}">
                  <a16:creationId xmlns:a16="http://schemas.microsoft.com/office/drawing/2014/main" id="{98BF99E9-E78C-EBDD-3934-3D1C9267CA4B}"/>
                </a:ext>
              </a:extLst>
            </p:cNvPr>
            <p:cNvSpPr>
              <a:spLocks/>
            </p:cNvSpPr>
            <p:nvPr/>
          </p:nvSpPr>
          <p:spPr bwMode="gray">
            <a:xfrm>
              <a:off x="1862139" y="6499225"/>
              <a:ext cx="360363" cy="360363"/>
            </a:xfrm>
            <a:custGeom>
              <a:avLst/>
              <a:gdLst>
                <a:gd name="T0" fmla="*/ 100 w 240"/>
                <a:gd name="T1" fmla="*/ 240 h 240"/>
                <a:gd name="T2" fmla="*/ 96 w 240"/>
                <a:gd name="T3" fmla="*/ 206 h 240"/>
                <a:gd name="T4" fmla="*/ 76 w 240"/>
                <a:gd name="T5" fmla="*/ 198 h 240"/>
                <a:gd name="T6" fmla="*/ 49 w 240"/>
                <a:gd name="T7" fmla="*/ 219 h 240"/>
                <a:gd name="T8" fmla="*/ 20 w 240"/>
                <a:gd name="T9" fmla="*/ 188 h 240"/>
                <a:gd name="T10" fmla="*/ 42 w 240"/>
                <a:gd name="T11" fmla="*/ 164 h 240"/>
                <a:gd name="T12" fmla="*/ 4 w 240"/>
                <a:gd name="T13" fmla="*/ 136 h 240"/>
                <a:gd name="T14" fmla="*/ 0 w 240"/>
                <a:gd name="T15" fmla="*/ 100 h 240"/>
                <a:gd name="T16" fmla="*/ 34 w 240"/>
                <a:gd name="T17" fmla="*/ 96 h 240"/>
                <a:gd name="T18" fmla="*/ 21 w 240"/>
                <a:gd name="T19" fmla="*/ 55 h 240"/>
                <a:gd name="T20" fmla="*/ 49 w 240"/>
                <a:gd name="T21" fmla="*/ 21 h 240"/>
                <a:gd name="T22" fmla="*/ 76 w 240"/>
                <a:gd name="T23" fmla="*/ 42 h 240"/>
                <a:gd name="T24" fmla="*/ 96 w 240"/>
                <a:gd name="T25" fmla="*/ 4 h 240"/>
                <a:gd name="T26" fmla="*/ 140 w 240"/>
                <a:gd name="T27" fmla="*/ 0 h 240"/>
                <a:gd name="T28" fmla="*/ 144 w 240"/>
                <a:gd name="T29" fmla="*/ 34 h 240"/>
                <a:gd name="T30" fmla="*/ 185 w 240"/>
                <a:gd name="T31" fmla="*/ 21 h 240"/>
                <a:gd name="T32" fmla="*/ 219 w 240"/>
                <a:gd name="T33" fmla="*/ 49 h 240"/>
                <a:gd name="T34" fmla="*/ 219 w 240"/>
                <a:gd name="T35" fmla="*/ 55 h 240"/>
                <a:gd name="T36" fmla="*/ 206 w 240"/>
                <a:gd name="T37" fmla="*/ 96 h 240"/>
                <a:gd name="T38" fmla="*/ 240 w 240"/>
                <a:gd name="T39" fmla="*/ 100 h 240"/>
                <a:gd name="T40" fmla="*/ 236 w 240"/>
                <a:gd name="T41" fmla="*/ 136 h 240"/>
                <a:gd name="T42" fmla="*/ 198 w 240"/>
                <a:gd name="T43" fmla="*/ 164 h 240"/>
                <a:gd name="T44" fmla="*/ 219 w 240"/>
                <a:gd name="T45" fmla="*/ 191 h 240"/>
                <a:gd name="T46" fmla="*/ 185 w 240"/>
                <a:gd name="T47" fmla="*/ 219 h 240"/>
                <a:gd name="T48" fmla="*/ 149 w 240"/>
                <a:gd name="T49" fmla="*/ 204 h 240"/>
                <a:gd name="T50" fmla="*/ 144 w 240"/>
                <a:gd name="T51" fmla="*/ 236 h 240"/>
                <a:gd name="T52" fmla="*/ 104 w 240"/>
                <a:gd name="T53" fmla="*/ 232 h 240"/>
                <a:gd name="T54" fmla="*/ 136 w 240"/>
                <a:gd name="T55" fmla="*/ 203 h 240"/>
                <a:gd name="T56" fmla="*/ 146 w 240"/>
                <a:gd name="T57" fmla="*/ 196 h 240"/>
                <a:gd name="T58" fmla="*/ 167 w 240"/>
                <a:gd name="T59" fmla="*/ 190 h 240"/>
                <a:gd name="T60" fmla="*/ 211 w 240"/>
                <a:gd name="T61" fmla="*/ 188 h 240"/>
                <a:gd name="T62" fmla="*/ 190 w 240"/>
                <a:gd name="T63" fmla="*/ 163 h 240"/>
                <a:gd name="T64" fmla="*/ 199 w 240"/>
                <a:gd name="T65" fmla="*/ 132 h 240"/>
                <a:gd name="T66" fmla="*/ 232 w 240"/>
                <a:gd name="T67" fmla="*/ 128 h 240"/>
                <a:gd name="T68" fmla="*/ 203 w 240"/>
                <a:gd name="T69" fmla="*/ 104 h 240"/>
                <a:gd name="T70" fmla="*/ 190 w 240"/>
                <a:gd name="T71" fmla="*/ 77 h 240"/>
                <a:gd name="T72" fmla="*/ 211 w 240"/>
                <a:gd name="T73" fmla="*/ 52 h 240"/>
                <a:gd name="T74" fmla="*/ 167 w 240"/>
                <a:gd name="T75" fmla="*/ 50 h 240"/>
                <a:gd name="T76" fmla="*/ 139 w 240"/>
                <a:gd name="T77" fmla="*/ 41 h 240"/>
                <a:gd name="T78" fmla="*/ 136 w 240"/>
                <a:gd name="T79" fmla="*/ 8 h 240"/>
                <a:gd name="T80" fmla="*/ 104 w 240"/>
                <a:gd name="T81" fmla="*/ 37 h 240"/>
                <a:gd name="T82" fmla="*/ 77 w 240"/>
                <a:gd name="T83" fmla="*/ 50 h 240"/>
                <a:gd name="T84" fmla="*/ 52 w 240"/>
                <a:gd name="T85" fmla="*/ 29 h 240"/>
                <a:gd name="T86" fmla="*/ 50 w 240"/>
                <a:gd name="T87" fmla="*/ 73 h 240"/>
                <a:gd name="T88" fmla="*/ 41 w 240"/>
                <a:gd name="T89" fmla="*/ 101 h 240"/>
                <a:gd name="T90" fmla="*/ 8 w 240"/>
                <a:gd name="T91" fmla="*/ 104 h 240"/>
                <a:gd name="T92" fmla="*/ 37 w 240"/>
                <a:gd name="T93" fmla="*/ 128 h 240"/>
                <a:gd name="T94" fmla="*/ 50 w 240"/>
                <a:gd name="T95" fmla="*/ 163 h 240"/>
                <a:gd name="T96" fmla="*/ 29 w 240"/>
                <a:gd name="T97" fmla="*/ 188 h 240"/>
                <a:gd name="T98" fmla="*/ 73 w 240"/>
                <a:gd name="T99" fmla="*/ 190 h 240"/>
                <a:gd name="T100" fmla="*/ 94 w 240"/>
                <a:gd name="T101" fmla="*/ 196 h 240"/>
                <a:gd name="T102" fmla="*/ 104 w 240"/>
                <a:gd name="T103" fmla="*/ 203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40" h="240">
                  <a:moveTo>
                    <a:pt x="140" y="240"/>
                  </a:moveTo>
                  <a:cubicBezTo>
                    <a:pt x="100" y="240"/>
                    <a:pt x="100" y="240"/>
                    <a:pt x="100" y="240"/>
                  </a:cubicBezTo>
                  <a:cubicBezTo>
                    <a:pt x="98" y="240"/>
                    <a:pt x="96" y="238"/>
                    <a:pt x="96" y="236"/>
                  </a:cubicBezTo>
                  <a:cubicBezTo>
                    <a:pt x="96" y="206"/>
                    <a:pt x="96" y="206"/>
                    <a:pt x="96" y="206"/>
                  </a:cubicBezTo>
                  <a:cubicBezTo>
                    <a:pt x="95" y="205"/>
                    <a:pt x="93" y="205"/>
                    <a:pt x="91" y="204"/>
                  </a:cubicBezTo>
                  <a:cubicBezTo>
                    <a:pt x="86" y="202"/>
                    <a:pt x="81" y="200"/>
                    <a:pt x="76" y="198"/>
                  </a:cubicBezTo>
                  <a:cubicBezTo>
                    <a:pt x="55" y="219"/>
                    <a:pt x="55" y="219"/>
                    <a:pt x="55" y="219"/>
                  </a:cubicBezTo>
                  <a:cubicBezTo>
                    <a:pt x="54" y="221"/>
                    <a:pt x="51" y="221"/>
                    <a:pt x="49" y="219"/>
                  </a:cubicBezTo>
                  <a:cubicBezTo>
                    <a:pt x="21" y="191"/>
                    <a:pt x="21" y="191"/>
                    <a:pt x="21" y="191"/>
                  </a:cubicBezTo>
                  <a:cubicBezTo>
                    <a:pt x="20" y="190"/>
                    <a:pt x="20" y="189"/>
                    <a:pt x="20" y="188"/>
                  </a:cubicBezTo>
                  <a:cubicBezTo>
                    <a:pt x="20" y="187"/>
                    <a:pt x="20" y="186"/>
                    <a:pt x="21" y="185"/>
                  </a:cubicBezTo>
                  <a:cubicBezTo>
                    <a:pt x="42" y="164"/>
                    <a:pt x="42" y="164"/>
                    <a:pt x="42" y="164"/>
                  </a:cubicBezTo>
                  <a:cubicBezTo>
                    <a:pt x="38" y="157"/>
                    <a:pt x="35" y="146"/>
                    <a:pt x="33" y="136"/>
                  </a:cubicBezTo>
                  <a:cubicBezTo>
                    <a:pt x="4" y="136"/>
                    <a:pt x="4" y="136"/>
                    <a:pt x="4" y="136"/>
                  </a:cubicBezTo>
                  <a:cubicBezTo>
                    <a:pt x="2" y="136"/>
                    <a:pt x="0" y="134"/>
                    <a:pt x="0" y="132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98"/>
                    <a:pt x="2" y="96"/>
                    <a:pt x="4" y="96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5" y="91"/>
                    <a:pt x="39" y="82"/>
                    <a:pt x="42" y="76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19" y="54"/>
                    <a:pt x="19" y="51"/>
                    <a:pt x="21" y="49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51" y="19"/>
                    <a:pt x="54" y="19"/>
                    <a:pt x="55" y="21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82" y="38"/>
                    <a:pt x="91" y="35"/>
                    <a:pt x="96" y="34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6" y="2"/>
                    <a:pt x="98" y="0"/>
                    <a:pt x="100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2" y="0"/>
                    <a:pt x="144" y="2"/>
                    <a:pt x="144" y="4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9" y="35"/>
                    <a:pt x="158" y="38"/>
                    <a:pt x="164" y="42"/>
                  </a:cubicBezTo>
                  <a:cubicBezTo>
                    <a:pt x="185" y="21"/>
                    <a:pt x="185" y="21"/>
                    <a:pt x="185" y="21"/>
                  </a:cubicBezTo>
                  <a:cubicBezTo>
                    <a:pt x="186" y="19"/>
                    <a:pt x="189" y="19"/>
                    <a:pt x="191" y="21"/>
                  </a:cubicBezTo>
                  <a:cubicBezTo>
                    <a:pt x="219" y="49"/>
                    <a:pt x="219" y="49"/>
                    <a:pt x="219" y="49"/>
                  </a:cubicBezTo>
                  <a:cubicBezTo>
                    <a:pt x="220" y="50"/>
                    <a:pt x="220" y="51"/>
                    <a:pt x="220" y="52"/>
                  </a:cubicBezTo>
                  <a:cubicBezTo>
                    <a:pt x="220" y="53"/>
                    <a:pt x="220" y="54"/>
                    <a:pt x="219" y="55"/>
                  </a:cubicBezTo>
                  <a:cubicBezTo>
                    <a:pt x="198" y="76"/>
                    <a:pt x="198" y="76"/>
                    <a:pt x="198" y="76"/>
                  </a:cubicBezTo>
                  <a:cubicBezTo>
                    <a:pt x="202" y="82"/>
                    <a:pt x="204" y="89"/>
                    <a:pt x="206" y="96"/>
                  </a:cubicBezTo>
                  <a:cubicBezTo>
                    <a:pt x="236" y="96"/>
                    <a:pt x="236" y="96"/>
                    <a:pt x="236" y="96"/>
                  </a:cubicBezTo>
                  <a:cubicBezTo>
                    <a:pt x="238" y="96"/>
                    <a:pt x="240" y="98"/>
                    <a:pt x="240" y="100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40" y="134"/>
                    <a:pt x="238" y="136"/>
                    <a:pt x="236" y="136"/>
                  </a:cubicBezTo>
                  <a:cubicBezTo>
                    <a:pt x="207" y="136"/>
                    <a:pt x="207" y="136"/>
                    <a:pt x="207" y="136"/>
                  </a:cubicBezTo>
                  <a:cubicBezTo>
                    <a:pt x="205" y="152"/>
                    <a:pt x="202" y="158"/>
                    <a:pt x="198" y="164"/>
                  </a:cubicBezTo>
                  <a:cubicBezTo>
                    <a:pt x="219" y="185"/>
                    <a:pt x="219" y="185"/>
                    <a:pt x="219" y="185"/>
                  </a:cubicBezTo>
                  <a:cubicBezTo>
                    <a:pt x="221" y="186"/>
                    <a:pt x="221" y="189"/>
                    <a:pt x="219" y="191"/>
                  </a:cubicBezTo>
                  <a:cubicBezTo>
                    <a:pt x="191" y="219"/>
                    <a:pt x="191" y="219"/>
                    <a:pt x="191" y="219"/>
                  </a:cubicBezTo>
                  <a:cubicBezTo>
                    <a:pt x="189" y="221"/>
                    <a:pt x="186" y="221"/>
                    <a:pt x="185" y="219"/>
                  </a:cubicBezTo>
                  <a:cubicBezTo>
                    <a:pt x="164" y="198"/>
                    <a:pt x="164" y="198"/>
                    <a:pt x="164" y="198"/>
                  </a:cubicBezTo>
                  <a:cubicBezTo>
                    <a:pt x="159" y="200"/>
                    <a:pt x="154" y="202"/>
                    <a:pt x="149" y="204"/>
                  </a:cubicBezTo>
                  <a:cubicBezTo>
                    <a:pt x="147" y="205"/>
                    <a:pt x="145" y="205"/>
                    <a:pt x="144" y="206"/>
                  </a:cubicBezTo>
                  <a:cubicBezTo>
                    <a:pt x="144" y="236"/>
                    <a:pt x="144" y="236"/>
                    <a:pt x="144" y="236"/>
                  </a:cubicBezTo>
                  <a:cubicBezTo>
                    <a:pt x="144" y="238"/>
                    <a:pt x="142" y="240"/>
                    <a:pt x="140" y="240"/>
                  </a:cubicBezTo>
                  <a:close/>
                  <a:moveTo>
                    <a:pt x="104" y="232"/>
                  </a:moveTo>
                  <a:cubicBezTo>
                    <a:pt x="136" y="232"/>
                    <a:pt x="136" y="232"/>
                    <a:pt x="136" y="232"/>
                  </a:cubicBezTo>
                  <a:cubicBezTo>
                    <a:pt x="136" y="203"/>
                    <a:pt x="136" y="203"/>
                    <a:pt x="136" y="203"/>
                  </a:cubicBezTo>
                  <a:cubicBezTo>
                    <a:pt x="136" y="202"/>
                    <a:pt x="137" y="200"/>
                    <a:pt x="138" y="200"/>
                  </a:cubicBezTo>
                  <a:cubicBezTo>
                    <a:pt x="140" y="199"/>
                    <a:pt x="143" y="198"/>
                    <a:pt x="146" y="196"/>
                  </a:cubicBezTo>
                  <a:cubicBezTo>
                    <a:pt x="152" y="195"/>
                    <a:pt x="158" y="192"/>
                    <a:pt x="163" y="190"/>
                  </a:cubicBezTo>
                  <a:cubicBezTo>
                    <a:pt x="164" y="189"/>
                    <a:pt x="166" y="189"/>
                    <a:pt x="167" y="190"/>
                  </a:cubicBezTo>
                  <a:cubicBezTo>
                    <a:pt x="188" y="211"/>
                    <a:pt x="188" y="211"/>
                    <a:pt x="188" y="211"/>
                  </a:cubicBezTo>
                  <a:cubicBezTo>
                    <a:pt x="211" y="188"/>
                    <a:pt x="211" y="188"/>
                    <a:pt x="211" y="188"/>
                  </a:cubicBezTo>
                  <a:cubicBezTo>
                    <a:pt x="190" y="167"/>
                    <a:pt x="190" y="167"/>
                    <a:pt x="190" y="167"/>
                  </a:cubicBezTo>
                  <a:cubicBezTo>
                    <a:pt x="189" y="166"/>
                    <a:pt x="189" y="164"/>
                    <a:pt x="190" y="163"/>
                  </a:cubicBezTo>
                  <a:cubicBezTo>
                    <a:pt x="190" y="162"/>
                    <a:pt x="190" y="162"/>
                    <a:pt x="190" y="162"/>
                  </a:cubicBezTo>
                  <a:cubicBezTo>
                    <a:pt x="194" y="155"/>
                    <a:pt x="197" y="150"/>
                    <a:pt x="199" y="132"/>
                  </a:cubicBezTo>
                  <a:cubicBezTo>
                    <a:pt x="199" y="130"/>
                    <a:pt x="201" y="128"/>
                    <a:pt x="203" y="128"/>
                  </a:cubicBezTo>
                  <a:cubicBezTo>
                    <a:pt x="232" y="128"/>
                    <a:pt x="232" y="128"/>
                    <a:pt x="232" y="128"/>
                  </a:cubicBezTo>
                  <a:cubicBezTo>
                    <a:pt x="232" y="104"/>
                    <a:pt x="232" y="104"/>
                    <a:pt x="232" y="104"/>
                  </a:cubicBezTo>
                  <a:cubicBezTo>
                    <a:pt x="203" y="104"/>
                    <a:pt x="203" y="104"/>
                    <a:pt x="203" y="104"/>
                  </a:cubicBezTo>
                  <a:cubicBezTo>
                    <a:pt x="201" y="104"/>
                    <a:pt x="200" y="103"/>
                    <a:pt x="199" y="101"/>
                  </a:cubicBezTo>
                  <a:cubicBezTo>
                    <a:pt x="197" y="93"/>
                    <a:pt x="194" y="84"/>
                    <a:pt x="190" y="77"/>
                  </a:cubicBezTo>
                  <a:cubicBezTo>
                    <a:pt x="189" y="76"/>
                    <a:pt x="189" y="74"/>
                    <a:pt x="190" y="73"/>
                  </a:cubicBezTo>
                  <a:cubicBezTo>
                    <a:pt x="211" y="52"/>
                    <a:pt x="211" y="52"/>
                    <a:pt x="211" y="52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67" y="50"/>
                    <a:pt x="167" y="50"/>
                    <a:pt x="167" y="50"/>
                  </a:cubicBezTo>
                  <a:cubicBezTo>
                    <a:pt x="166" y="51"/>
                    <a:pt x="164" y="51"/>
                    <a:pt x="163" y="50"/>
                  </a:cubicBezTo>
                  <a:cubicBezTo>
                    <a:pt x="155" y="46"/>
                    <a:pt x="143" y="41"/>
                    <a:pt x="139" y="41"/>
                  </a:cubicBezTo>
                  <a:cubicBezTo>
                    <a:pt x="137" y="40"/>
                    <a:pt x="136" y="39"/>
                    <a:pt x="136" y="37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9"/>
                    <a:pt x="103" y="40"/>
                    <a:pt x="101" y="41"/>
                  </a:cubicBezTo>
                  <a:cubicBezTo>
                    <a:pt x="96" y="42"/>
                    <a:pt x="85" y="46"/>
                    <a:pt x="77" y="50"/>
                  </a:cubicBezTo>
                  <a:cubicBezTo>
                    <a:pt x="76" y="51"/>
                    <a:pt x="74" y="51"/>
                    <a:pt x="73" y="50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1" y="74"/>
                    <a:pt x="51" y="76"/>
                    <a:pt x="50" y="77"/>
                  </a:cubicBezTo>
                  <a:cubicBezTo>
                    <a:pt x="46" y="85"/>
                    <a:pt x="42" y="96"/>
                    <a:pt x="41" y="101"/>
                  </a:cubicBezTo>
                  <a:cubicBezTo>
                    <a:pt x="40" y="103"/>
                    <a:pt x="39" y="104"/>
                    <a:pt x="37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28"/>
                    <a:pt x="8" y="128"/>
                    <a:pt x="8" y="128"/>
                  </a:cubicBezTo>
                  <a:cubicBezTo>
                    <a:pt x="37" y="128"/>
                    <a:pt x="37" y="128"/>
                    <a:pt x="37" y="128"/>
                  </a:cubicBezTo>
                  <a:cubicBezTo>
                    <a:pt x="39" y="128"/>
                    <a:pt x="40" y="129"/>
                    <a:pt x="41" y="131"/>
                  </a:cubicBezTo>
                  <a:cubicBezTo>
                    <a:pt x="42" y="143"/>
                    <a:pt x="46" y="156"/>
                    <a:pt x="50" y="163"/>
                  </a:cubicBezTo>
                  <a:cubicBezTo>
                    <a:pt x="51" y="164"/>
                    <a:pt x="51" y="166"/>
                    <a:pt x="50" y="167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52" y="211"/>
                    <a:pt x="52" y="211"/>
                    <a:pt x="52" y="211"/>
                  </a:cubicBezTo>
                  <a:cubicBezTo>
                    <a:pt x="73" y="190"/>
                    <a:pt x="73" y="190"/>
                    <a:pt x="73" y="190"/>
                  </a:cubicBezTo>
                  <a:cubicBezTo>
                    <a:pt x="74" y="189"/>
                    <a:pt x="76" y="189"/>
                    <a:pt x="77" y="190"/>
                  </a:cubicBezTo>
                  <a:cubicBezTo>
                    <a:pt x="82" y="192"/>
                    <a:pt x="88" y="195"/>
                    <a:pt x="94" y="196"/>
                  </a:cubicBezTo>
                  <a:cubicBezTo>
                    <a:pt x="97" y="198"/>
                    <a:pt x="100" y="199"/>
                    <a:pt x="102" y="200"/>
                  </a:cubicBezTo>
                  <a:cubicBezTo>
                    <a:pt x="103" y="200"/>
                    <a:pt x="104" y="202"/>
                    <a:pt x="104" y="203"/>
                  </a:cubicBezTo>
                  <a:lnTo>
                    <a:pt x="104" y="2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 583">
              <a:extLst>
                <a:ext uri="{FF2B5EF4-FFF2-40B4-BE49-F238E27FC236}">
                  <a16:creationId xmlns:a16="http://schemas.microsoft.com/office/drawing/2014/main" id="{C060F199-6F72-A338-A2A4-02023DCAD775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0089" y="6607175"/>
              <a:ext cx="144463" cy="144463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8 h 96"/>
                <a:gd name="T12" fmla="*/ 8 w 96"/>
                <a:gd name="T13" fmla="*/ 48 h 96"/>
                <a:gd name="T14" fmla="*/ 48 w 96"/>
                <a:gd name="T15" fmla="*/ 88 h 96"/>
                <a:gd name="T16" fmla="*/ 88 w 96"/>
                <a:gd name="T17" fmla="*/ 48 h 96"/>
                <a:gd name="T18" fmla="*/ 48 w 96"/>
                <a:gd name="T19" fmla="*/ 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4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4" y="0"/>
                    <a:pt x="96" y="22"/>
                    <a:pt x="96" y="48"/>
                  </a:cubicBezTo>
                  <a:cubicBezTo>
                    <a:pt x="96" y="74"/>
                    <a:pt x="74" y="96"/>
                    <a:pt x="48" y="96"/>
                  </a:cubicBezTo>
                  <a:close/>
                  <a:moveTo>
                    <a:pt x="48" y="8"/>
                  </a:moveTo>
                  <a:cubicBezTo>
                    <a:pt x="26" y="8"/>
                    <a:pt x="8" y="26"/>
                    <a:pt x="8" y="48"/>
                  </a:cubicBezTo>
                  <a:cubicBezTo>
                    <a:pt x="8" y="70"/>
                    <a:pt x="26" y="88"/>
                    <a:pt x="48" y="88"/>
                  </a:cubicBezTo>
                  <a:cubicBezTo>
                    <a:pt x="70" y="88"/>
                    <a:pt x="88" y="70"/>
                    <a:pt x="88" y="48"/>
                  </a:cubicBezTo>
                  <a:cubicBezTo>
                    <a:pt x="88" y="26"/>
                    <a:pt x="70" y="8"/>
                    <a:pt x="4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46" name="Gruppieren 149">
            <a:extLst>
              <a:ext uri="{FF2B5EF4-FFF2-40B4-BE49-F238E27FC236}">
                <a16:creationId xmlns:a16="http://schemas.microsoft.com/office/drawing/2014/main" id="{BCEDD03B-3EEB-9D36-39E8-EB7780E9070A}"/>
              </a:ext>
            </a:extLst>
          </p:cNvPr>
          <p:cNvGrpSpPr>
            <a:grpSpLocks/>
          </p:cNvGrpSpPr>
          <p:nvPr/>
        </p:nvGrpSpPr>
        <p:grpSpPr bwMode="gray">
          <a:xfrm>
            <a:off x="2921406" y="4643332"/>
            <a:ext cx="174960" cy="174960"/>
            <a:chOff x="1862139" y="6499225"/>
            <a:chExt cx="360363" cy="360363"/>
          </a:xfrm>
          <a:solidFill>
            <a:schemeClr val="accent6"/>
          </a:solidFill>
        </p:grpSpPr>
        <p:sp>
          <p:nvSpPr>
            <p:cNvPr id="147" name="Freeform 582">
              <a:extLst>
                <a:ext uri="{FF2B5EF4-FFF2-40B4-BE49-F238E27FC236}">
                  <a16:creationId xmlns:a16="http://schemas.microsoft.com/office/drawing/2014/main" id="{04AF4EE7-B9A1-6B56-8B79-9BC6797F8E69}"/>
                </a:ext>
              </a:extLst>
            </p:cNvPr>
            <p:cNvSpPr>
              <a:spLocks/>
            </p:cNvSpPr>
            <p:nvPr/>
          </p:nvSpPr>
          <p:spPr bwMode="gray">
            <a:xfrm>
              <a:off x="1862139" y="6499225"/>
              <a:ext cx="360363" cy="360363"/>
            </a:xfrm>
            <a:custGeom>
              <a:avLst/>
              <a:gdLst>
                <a:gd name="T0" fmla="*/ 100 w 240"/>
                <a:gd name="T1" fmla="*/ 240 h 240"/>
                <a:gd name="T2" fmla="*/ 96 w 240"/>
                <a:gd name="T3" fmla="*/ 206 h 240"/>
                <a:gd name="T4" fmla="*/ 76 w 240"/>
                <a:gd name="T5" fmla="*/ 198 h 240"/>
                <a:gd name="T6" fmla="*/ 49 w 240"/>
                <a:gd name="T7" fmla="*/ 219 h 240"/>
                <a:gd name="T8" fmla="*/ 20 w 240"/>
                <a:gd name="T9" fmla="*/ 188 h 240"/>
                <a:gd name="T10" fmla="*/ 42 w 240"/>
                <a:gd name="T11" fmla="*/ 164 h 240"/>
                <a:gd name="T12" fmla="*/ 4 w 240"/>
                <a:gd name="T13" fmla="*/ 136 h 240"/>
                <a:gd name="T14" fmla="*/ 0 w 240"/>
                <a:gd name="T15" fmla="*/ 100 h 240"/>
                <a:gd name="T16" fmla="*/ 34 w 240"/>
                <a:gd name="T17" fmla="*/ 96 h 240"/>
                <a:gd name="T18" fmla="*/ 21 w 240"/>
                <a:gd name="T19" fmla="*/ 55 h 240"/>
                <a:gd name="T20" fmla="*/ 49 w 240"/>
                <a:gd name="T21" fmla="*/ 21 h 240"/>
                <a:gd name="T22" fmla="*/ 76 w 240"/>
                <a:gd name="T23" fmla="*/ 42 h 240"/>
                <a:gd name="T24" fmla="*/ 96 w 240"/>
                <a:gd name="T25" fmla="*/ 4 h 240"/>
                <a:gd name="T26" fmla="*/ 140 w 240"/>
                <a:gd name="T27" fmla="*/ 0 h 240"/>
                <a:gd name="T28" fmla="*/ 144 w 240"/>
                <a:gd name="T29" fmla="*/ 34 h 240"/>
                <a:gd name="T30" fmla="*/ 185 w 240"/>
                <a:gd name="T31" fmla="*/ 21 h 240"/>
                <a:gd name="T32" fmla="*/ 219 w 240"/>
                <a:gd name="T33" fmla="*/ 49 h 240"/>
                <a:gd name="T34" fmla="*/ 219 w 240"/>
                <a:gd name="T35" fmla="*/ 55 h 240"/>
                <a:gd name="T36" fmla="*/ 206 w 240"/>
                <a:gd name="T37" fmla="*/ 96 h 240"/>
                <a:gd name="T38" fmla="*/ 240 w 240"/>
                <a:gd name="T39" fmla="*/ 100 h 240"/>
                <a:gd name="T40" fmla="*/ 236 w 240"/>
                <a:gd name="T41" fmla="*/ 136 h 240"/>
                <a:gd name="T42" fmla="*/ 198 w 240"/>
                <a:gd name="T43" fmla="*/ 164 h 240"/>
                <a:gd name="T44" fmla="*/ 219 w 240"/>
                <a:gd name="T45" fmla="*/ 191 h 240"/>
                <a:gd name="T46" fmla="*/ 185 w 240"/>
                <a:gd name="T47" fmla="*/ 219 h 240"/>
                <a:gd name="T48" fmla="*/ 149 w 240"/>
                <a:gd name="T49" fmla="*/ 204 h 240"/>
                <a:gd name="T50" fmla="*/ 144 w 240"/>
                <a:gd name="T51" fmla="*/ 236 h 240"/>
                <a:gd name="T52" fmla="*/ 104 w 240"/>
                <a:gd name="T53" fmla="*/ 232 h 240"/>
                <a:gd name="T54" fmla="*/ 136 w 240"/>
                <a:gd name="T55" fmla="*/ 203 h 240"/>
                <a:gd name="T56" fmla="*/ 146 w 240"/>
                <a:gd name="T57" fmla="*/ 196 h 240"/>
                <a:gd name="T58" fmla="*/ 167 w 240"/>
                <a:gd name="T59" fmla="*/ 190 h 240"/>
                <a:gd name="T60" fmla="*/ 211 w 240"/>
                <a:gd name="T61" fmla="*/ 188 h 240"/>
                <a:gd name="T62" fmla="*/ 190 w 240"/>
                <a:gd name="T63" fmla="*/ 163 h 240"/>
                <a:gd name="T64" fmla="*/ 199 w 240"/>
                <a:gd name="T65" fmla="*/ 132 h 240"/>
                <a:gd name="T66" fmla="*/ 232 w 240"/>
                <a:gd name="T67" fmla="*/ 128 h 240"/>
                <a:gd name="T68" fmla="*/ 203 w 240"/>
                <a:gd name="T69" fmla="*/ 104 h 240"/>
                <a:gd name="T70" fmla="*/ 190 w 240"/>
                <a:gd name="T71" fmla="*/ 77 h 240"/>
                <a:gd name="T72" fmla="*/ 211 w 240"/>
                <a:gd name="T73" fmla="*/ 52 h 240"/>
                <a:gd name="T74" fmla="*/ 167 w 240"/>
                <a:gd name="T75" fmla="*/ 50 h 240"/>
                <a:gd name="T76" fmla="*/ 139 w 240"/>
                <a:gd name="T77" fmla="*/ 41 h 240"/>
                <a:gd name="T78" fmla="*/ 136 w 240"/>
                <a:gd name="T79" fmla="*/ 8 h 240"/>
                <a:gd name="T80" fmla="*/ 104 w 240"/>
                <a:gd name="T81" fmla="*/ 37 h 240"/>
                <a:gd name="T82" fmla="*/ 77 w 240"/>
                <a:gd name="T83" fmla="*/ 50 h 240"/>
                <a:gd name="T84" fmla="*/ 52 w 240"/>
                <a:gd name="T85" fmla="*/ 29 h 240"/>
                <a:gd name="T86" fmla="*/ 50 w 240"/>
                <a:gd name="T87" fmla="*/ 73 h 240"/>
                <a:gd name="T88" fmla="*/ 41 w 240"/>
                <a:gd name="T89" fmla="*/ 101 h 240"/>
                <a:gd name="T90" fmla="*/ 8 w 240"/>
                <a:gd name="T91" fmla="*/ 104 h 240"/>
                <a:gd name="T92" fmla="*/ 37 w 240"/>
                <a:gd name="T93" fmla="*/ 128 h 240"/>
                <a:gd name="T94" fmla="*/ 50 w 240"/>
                <a:gd name="T95" fmla="*/ 163 h 240"/>
                <a:gd name="T96" fmla="*/ 29 w 240"/>
                <a:gd name="T97" fmla="*/ 188 h 240"/>
                <a:gd name="T98" fmla="*/ 73 w 240"/>
                <a:gd name="T99" fmla="*/ 190 h 240"/>
                <a:gd name="T100" fmla="*/ 94 w 240"/>
                <a:gd name="T101" fmla="*/ 196 h 240"/>
                <a:gd name="T102" fmla="*/ 104 w 240"/>
                <a:gd name="T103" fmla="*/ 203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40" h="240">
                  <a:moveTo>
                    <a:pt x="140" y="240"/>
                  </a:moveTo>
                  <a:cubicBezTo>
                    <a:pt x="100" y="240"/>
                    <a:pt x="100" y="240"/>
                    <a:pt x="100" y="240"/>
                  </a:cubicBezTo>
                  <a:cubicBezTo>
                    <a:pt x="98" y="240"/>
                    <a:pt x="96" y="238"/>
                    <a:pt x="96" y="236"/>
                  </a:cubicBezTo>
                  <a:cubicBezTo>
                    <a:pt x="96" y="206"/>
                    <a:pt x="96" y="206"/>
                    <a:pt x="96" y="206"/>
                  </a:cubicBezTo>
                  <a:cubicBezTo>
                    <a:pt x="95" y="205"/>
                    <a:pt x="93" y="205"/>
                    <a:pt x="91" y="204"/>
                  </a:cubicBezTo>
                  <a:cubicBezTo>
                    <a:pt x="86" y="202"/>
                    <a:pt x="81" y="200"/>
                    <a:pt x="76" y="198"/>
                  </a:cubicBezTo>
                  <a:cubicBezTo>
                    <a:pt x="55" y="219"/>
                    <a:pt x="55" y="219"/>
                    <a:pt x="55" y="219"/>
                  </a:cubicBezTo>
                  <a:cubicBezTo>
                    <a:pt x="54" y="221"/>
                    <a:pt x="51" y="221"/>
                    <a:pt x="49" y="219"/>
                  </a:cubicBezTo>
                  <a:cubicBezTo>
                    <a:pt x="21" y="191"/>
                    <a:pt x="21" y="191"/>
                    <a:pt x="21" y="191"/>
                  </a:cubicBezTo>
                  <a:cubicBezTo>
                    <a:pt x="20" y="190"/>
                    <a:pt x="20" y="189"/>
                    <a:pt x="20" y="188"/>
                  </a:cubicBezTo>
                  <a:cubicBezTo>
                    <a:pt x="20" y="187"/>
                    <a:pt x="20" y="186"/>
                    <a:pt x="21" y="185"/>
                  </a:cubicBezTo>
                  <a:cubicBezTo>
                    <a:pt x="42" y="164"/>
                    <a:pt x="42" y="164"/>
                    <a:pt x="42" y="164"/>
                  </a:cubicBezTo>
                  <a:cubicBezTo>
                    <a:pt x="38" y="157"/>
                    <a:pt x="35" y="146"/>
                    <a:pt x="33" y="136"/>
                  </a:cubicBezTo>
                  <a:cubicBezTo>
                    <a:pt x="4" y="136"/>
                    <a:pt x="4" y="136"/>
                    <a:pt x="4" y="136"/>
                  </a:cubicBezTo>
                  <a:cubicBezTo>
                    <a:pt x="2" y="136"/>
                    <a:pt x="0" y="134"/>
                    <a:pt x="0" y="132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98"/>
                    <a:pt x="2" y="96"/>
                    <a:pt x="4" y="96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5" y="91"/>
                    <a:pt x="39" y="82"/>
                    <a:pt x="42" y="76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19" y="54"/>
                    <a:pt x="19" y="51"/>
                    <a:pt x="21" y="49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51" y="19"/>
                    <a:pt x="54" y="19"/>
                    <a:pt x="55" y="21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82" y="38"/>
                    <a:pt x="91" y="35"/>
                    <a:pt x="96" y="34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6" y="2"/>
                    <a:pt x="98" y="0"/>
                    <a:pt x="100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2" y="0"/>
                    <a:pt x="144" y="2"/>
                    <a:pt x="144" y="4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9" y="35"/>
                    <a:pt x="158" y="38"/>
                    <a:pt x="164" y="42"/>
                  </a:cubicBezTo>
                  <a:cubicBezTo>
                    <a:pt x="185" y="21"/>
                    <a:pt x="185" y="21"/>
                    <a:pt x="185" y="21"/>
                  </a:cubicBezTo>
                  <a:cubicBezTo>
                    <a:pt x="186" y="19"/>
                    <a:pt x="189" y="19"/>
                    <a:pt x="191" y="21"/>
                  </a:cubicBezTo>
                  <a:cubicBezTo>
                    <a:pt x="219" y="49"/>
                    <a:pt x="219" y="49"/>
                    <a:pt x="219" y="49"/>
                  </a:cubicBezTo>
                  <a:cubicBezTo>
                    <a:pt x="220" y="50"/>
                    <a:pt x="220" y="51"/>
                    <a:pt x="220" y="52"/>
                  </a:cubicBezTo>
                  <a:cubicBezTo>
                    <a:pt x="220" y="53"/>
                    <a:pt x="220" y="54"/>
                    <a:pt x="219" y="55"/>
                  </a:cubicBezTo>
                  <a:cubicBezTo>
                    <a:pt x="198" y="76"/>
                    <a:pt x="198" y="76"/>
                    <a:pt x="198" y="76"/>
                  </a:cubicBezTo>
                  <a:cubicBezTo>
                    <a:pt x="202" y="82"/>
                    <a:pt x="204" y="89"/>
                    <a:pt x="206" y="96"/>
                  </a:cubicBezTo>
                  <a:cubicBezTo>
                    <a:pt x="236" y="96"/>
                    <a:pt x="236" y="96"/>
                    <a:pt x="236" y="96"/>
                  </a:cubicBezTo>
                  <a:cubicBezTo>
                    <a:pt x="238" y="96"/>
                    <a:pt x="240" y="98"/>
                    <a:pt x="240" y="100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40" y="134"/>
                    <a:pt x="238" y="136"/>
                    <a:pt x="236" y="136"/>
                  </a:cubicBezTo>
                  <a:cubicBezTo>
                    <a:pt x="207" y="136"/>
                    <a:pt x="207" y="136"/>
                    <a:pt x="207" y="136"/>
                  </a:cubicBezTo>
                  <a:cubicBezTo>
                    <a:pt x="205" y="152"/>
                    <a:pt x="202" y="158"/>
                    <a:pt x="198" y="164"/>
                  </a:cubicBezTo>
                  <a:cubicBezTo>
                    <a:pt x="219" y="185"/>
                    <a:pt x="219" y="185"/>
                    <a:pt x="219" y="185"/>
                  </a:cubicBezTo>
                  <a:cubicBezTo>
                    <a:pt x="221" y="186"/>
                    <a:pt x="221" y="189"/>
                    <a:pt x="219" y="191"/>
                  </a:cubicBezTo>
                  <a:cubicBezTo>
                    <a:pt x="191" y="219"/>
                    <a:pt x="191" y="219"/>
                    <a:pt x="191" y="219"/>
                  </a:cubicBezTo>
                  <a:cubicBezTo>
                    <a:pt x="189" y="221"/>
                    <a:pt x="186" y="221"/>
                    <a:pt x="185" y="219"/>
                  </a:cubicBezTo>
                  <a:cubicBezTo>
                    <a:pt x="164" y="198"/>
                    <a:pt x="164" y="198"/>
                    <a:pt x="164" y="198"/>
                  </a:cubicBezTo>
                  <a:cubicBezTo>
                    <a:pt x="159" y="200"/>
                    <a:pt x="154" y="202"/>
                    <a:pt x="149" y="204"/>
                  </a:cubicBezTo>
                  <a:cubicBezTo>
                    <a:pt x="147" y="205"/>
                    <a:pt x="145" y="205"/>
                    <a:pt x="144" y="206"/>
                  </a:cubicBezTo>
                  <a:cubicBezTo>
                    <a:pt x="144" y="236"/>
                    <a:pt x="144" y="236"/>
                    <a:pt x="144" y="236"/>
                  </a:cubicBezTo>
                  <a:cubicBezTo>
                    <a:pt x="144" y="238"/>
                    <a:pt x="142" y="240"/>
                    <a:pt x="140" y="240"/>
                  </a:cubicBezTo>
                  <a:close/>
                  <a:moveTo>
                    <a:pt x="104" y="232"/>
                  </a:moveTo>
                  <a:cubicBezTo>
                    <a:pt x="136" y="232"/>
                    <a:pt x="136" y="232"/>
                    <a:pt x="136" y="232"/>
                  </a:cubicBezTo>
                  <a:cubicBezTo>
                    <a:pt x="136" y="203"/>
                    <a:pt x="136" y="203"/>
                    <a:pt x="136" y="203"/>
                  </a:cubicBezTo>
                  <a:cubicBezTo>
                    <a:pt x="136" y="202"/>
                    <a:pt x="137" y="200"/>
                    <a:pt x="138" y="200"/>
                  </a:cubicBezTo>
                  <a:cubicBezTo>
                    <a:pt x="140" y="199"/>
                    <a:pt x="143" y="198"/>
                    <a:pt x="146" y="196"/>
                  </a:cubicBezTo>
                  <a:cubicBezTo>
                    <a:pt x="152" y="195"/>
                    <a:pt x="158" y="192"/>
                    <a:pt x="163" y="190"/>
                  </a:cubicBezTo>
                  <a:cubicBezTo>
                    <a:pt x="164" y="189"/>
                    <a:pt x="166" y="189"/>
                    <a:pt x="167" y="190"/>
                  </a:cubicBezTo>
                  <a:cubicBezTo>
                    <a:pt x="188" y="211"/>
                    <a:pt x="188" y="211"/>
                    <a:pt x="188" y="211"/>
                  </a:cubicBezTo>
                  <a:cubicBezTo>
                    <a:pt x="211" y="188"/>
                    <a:pt x="211" y="188"/>
                    <a:pt x="211" y="188"/>
                  </a:cubicBezTo>
                  <a:cubicBezTo>
                    <a:pt x="190" y="167"/>
                    <a:pt x="190" y="167"/>
                    <a:pt x="190" y="167"/>
                  </a:cubicBezTo>
                  <a:cubicBezTo>
                    <a:pt x="189" y="166"/>
                    <a:pt x="189" y="164"/>
                    <a:pt x="190" y="163"/>
                  </a:cubicBezTo>
                  <a:cubicBezTo>
                    <a:pt x="190" y="162"/>
                    <a:pt x="190" y="162"/>
                    <a:pt x="190" y="162"/>
                  </a:cubicBezTo>
                  <a:cubicBezTo>
                    <a:pt x="194" y="155"/>
                    <a:pt x="197" y="150"/>
                    <a:pt x="199" y="132"/>
                  </a:cubicBezTo>
                  <a:cubicBezTo>
                    <a:pt x="199" y="130"/>
                    <a:pt x="201" y="128"/>
                    <a:pt x="203" y="128"/>
                  </a:cubicBezTo>
                  <a:cubicBezTo>
                    <a:pt x="232" y="128"/>
                    <a:pt x="232" y="128"/>
                    <a:pt x="232" y="128"/>
                  </a:cubicBezTo>
                  <a:cubicBezTo>
                    <a:pt x="232" y="104"/>
                    <a:pt x="232" y="104"/>
                    <a:pt x="232" y="104"/>
                  </a:cubicBezTo>
                  <a:cubicBezTo>
                    <a:pt x="203" y="104"/>
                    <a:pt x="203" y="104"/>
                    <a:pt x="203" y="104"/>
                  </a:cubicBezTo>
                  <a:cubicBezTo>
                    <a:pt x="201" y="104"/>
                    <a:pt x="200" y="103"/>
                    <a:pt x="199" y="101"/>
                  </a:cubicBezTo>
                  <a:cubicBezTo>
                    <a:pt x="197" y="93"/>
                    <a:pt x="194" y="84"/>
                    <a:pt x="190" y="77"/>
                  </a:cubicBezTo>
                  <a:cubicBezTo>
                    <a:pt x="189" y="76"/>
                    <a:pt x="189" y="74"/>
                    <a:pt x="190" y="73"/>
                  </a:cubicBezTo>
                  <a:cubicBezTo>
                    <a:pt x="211" y="52"/>
                    <a:pt x="211" y="52"/>
                    <a:pt x="211" y="52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67" y="50"/>
                    <a:pt x="167" y="50"/>
                    <a:pt x="167" y="50"/>
                  </a:cubicBezTo>
                  <a:cubicBezTo>
                    <a:pt x="166" y="51"/>
                    <a:pt x="164" y="51"/>
                    <a:pt x="163" y="50"/>
                  </a:cubicBezTo>
                  <a:cubicBezTo>
                    <a:pt x="155" y="46"/>
                    <a:pt x="143" y="41"/>
                    <a:pt x="139" y="41"/>
                  </a:cubicBezTo>
                  <a:cubicBezTo>
                    <a:pt x="137" y="40"/>
                    <a:pt x="136" y="39"/>
                    <a:pt x="136" y="37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9"/>
                    <a:pt x="103" y="40"/>
                    <a:pt x="101" y="41"/>
                  </a:cubicBezTo>
                  <a:cubicBezTo>
                    <a:pt x="96" y="42"/>
                    <a:pt x="85" y="46"/>
                    <a:pt x="77" y="50"/>
                  </a:cubicBezTo>
                  <a:cubicBezTo>
                    <a:pt x="76" y="51"/>
                    <a:pt x="74" y="51"/>
                    <a:pt x="73" y="50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1" y="74"/>
                    <a:pt x="51" y="76"/>
                    <a:pt x="50" y="77"/>
                  </a:cubicBezTo>
                  <a:cubicBezTo>
                    <a:pt x="46" y="85"/>
                    <a:pt x="42" y="96"/>
                    <a:pt x="41" y="101"/>
                  </a:cubicBezTo>
                  <a:cubicBezTo>
                    <a:pt x="40" y="103"/>
                    <a:pt x="39" y="104"/>
                    <a:pt x="37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28"/>
                    <a:pt x="8" y="128"/>
                    <a:pt x="8" y="128"/>
                  </a:cubicBezTo>
                  <a:cubicBezTo>
                    <a:pt x="37" y="128"/>
                    <a:pt x="37" y="128"/>
                    <a:pt x="37" y="128"/>
                  </a:cubicBezTo>
                  <a:cubicBezTo>
                    <a:pt x="39" y="128"/>
                    <a:pt x="40" y="129"/>
                    <a:pt x="41" y="131"/>
                  </a:cubicBezTo>
                  <a:cubicBezTo>
                    <a:pt x="42" y="143"/>
                    <a:pt x="46" y="156"/>
                    <a:pt x="50" y="163"/>
                  </a:cubicBezTo>
                  <a:cubicBezTo>
                    <a:pt x="51" y="164"/>
                    <a:pt x="51" y="166"/>
                    <a:pt x="50" y="167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52" y="211"/>
                    <a:pt x="52" y="211"/>
                    <a:pt x="52" y="211"/>
                  </a:cubicBezTo>
                  <a:cubicBezTo>
                    <a:pt x="73" y="190"/>
                    <a:pt x="73" y="190"/>
                    <a:pt x="73" y="190"/>
                  </a:cubicBezTo>
                  <a:cubicBezTo>
                    <a:pt x="74" y="189"/>
                    <a:pt x="76" y="189"/>
                    <a:pt x="77" y="190"/>
                  </a:cubicBezTo>
                  <a:cubicBezTo>
                    <a:pt x="82" y="192"/>
                    <a:pt x="88" y="195"/>
                    <a:pt x="94" y="196"/>
                  </a:cubicBezTo>
                  <a:cubicBezTo>
                    <a:pt x="97" y="198"/>
                    <a:pt x="100" y="199"/>
                    <a:pt x="102" y="200"/>
                  </a:cubicBezTo>
                  <a:cubicBezTo>
                    <a:pt x="103" y="200"/>
                    <a:pt x="104" y="202"/>
                    <a:pt x="104" y="203"/>
                  </a:cubicBezTo>
                  <a:lnTo>
                    <a:pt x="104" y="2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8" name="Freeform 583">
              <a:extLst>
                <a:ext uri="{FF2B5EF4-FFF2-40B4-BE49-F238E27FC236}">
                  <a16:creationId xmlns:a16="http://schemas.microsoft.com/office/drawing/2014/main" id="{B50EEEEA-B5F3-CC83-0750-FE2137F6139D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0089" y="6607175"/>
              <a:ext cx="144463" cy="144463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8 h 96"/>
                <a:gd name="T12" fmla="*/ 8 w 96"/>
                <a:gd name="T13" fmla="*/ 48 h 96"/>
                <a:gd name="T14" fmla="*/ 48 w 96"/>
                <a:gd name="T15" fmla="*/ 88 h 96"/>
                <a:gd name="T16" fmla="*/ 88 w 96"/>
                <a:gd name="T17" fmla="*/ 48 h 96"/>
                <a:gd name="T18" fmla="*/ 48 w 96"/>
                <a:gd name="T19" fmla="*/ 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4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4" y="0"/>
                    <a:pt x="96" y="22"/>
                    <a:pt x="96" y="48"/>
                  </a:cubicBezTo>
                  <a:cubicBezTo>
                    <a:pt x="96" y="74"/>
                    <a:pt x="74" y="96"/>
                    <a:pt x="48" y="96"/>
                  </a:cubicBezTo>
                  <a:close/>
                  <a:moveTo>
                    <a:pt x="48" y="8"/>
                  </a:moveTo>
                  <a:cubicBezTo>
                    <a:pt x="26" y="8"/>
                    <a:pt x="8" y="26"/>
                    <a:pt x="8" y="48"/>
                  </a:cubicBezTo>
                  <a:cubicBezTo>
                    <a:pt x="8" y="70"/>
                    <a:pt x="26" y="88"/>
                    <a:pt x="48" y="88"/>
                  </a:cubicBezTo>
                  <a:cubicBezTo>
                    <a:pt x="70" y="88"/>
                    <a:pt x="88" y="70"/>
                    <a:pt x="88" y="48"/>
                  </a:cubicBezTo>
                  <a:cubicBezTo>
                    <a:pt x="88" y="26"/>
                    <a:pt x="70" y="8"/>
                    <a:pt x="4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49" name="Gruppieren 152">
            <a:extLst>
              <a:ext uri="{FF2B5EF4-FFF2-40B4-BE49-F238E27FC236}">
                <a16:creationId xmlns:a16="http://schemas.microsoft.com/office/drawing/2014/main" id="{857C1730-F0F2-53A5-B97B-EFC499B1EA0E}"/>
              </a:ext>
            </a:extLst>
          </p:cNvPr>
          <p:cNvGrpSpPr>
            <a:grpSpLocks/>
          </p:cNvGrpSpPr>
          <p:nvPr/>
        </p:nvGrpSpPr>
        <p:grpSpPr bwMode="gray">
          <a:xfrm>
            <a:off x="3173610" y="4643332"/>
            <a:ext cx="174960" cy="174960"/>
            <a:chOff x="1862139" y="6499225"/>
            <a:chExt cx="360363" cy="360363"/>
          </a:xfrm>
          <a:solidFill>
            <a:schemeClr val="accent6"/>
          </a:solidFill>
        </p:grpSpPr>
        <p:sp>
          <p:nvSpPr>
            <p:cNvPr id="150" name="Freeform 582">
              <a:extLst>
                <a:ext uri="{FF2B5EF4-FFF2-40B4-BE49-F238E27FC236}">
                  <a16:creationId xmlns:a16="http://schemas.microsoft.com/office/drawing/2014/main" id="{6097215E-D209-DCA6-9BF8-B2D5DD7205B4}"/>
                </a:ext>
              </a:extLst>
            </p:cNvPr>
            <p:cNvSpPr>
              <a:spLocks/>
            </p:cNvSpPr>
            <p:nvPr/>
          </p:nvSpPr>
          <p:spPr bwMode="gray">
            <a:xfrm>
              <a:off x="1862139" y="6499225"/>
              <a:ext cx="360363" cy="360363"/>
            </a:xfrm>
            <a:custGeom>
              <a:avLst/>
              <a:gdLst>
                <a:gd name="T0" fmla="*/ 100 w 240"/>
                <a:gd name="T1" fmla="*/ 240 h 240"/>
                <a:gd name="T2" fmla="*/ 96 w 240"/>
                <a:gd name="T3" fmla="*/ 206 h 240"/>
                <a:gd name="T4" fmla="*/ 76 w 240"/>
                <a:gd name="T5" fmla="*/ 198 h 240"/>
                <a:gd name="T6" fmla="*/ 49 w 240"/>
                <a:gd name="T7" fmla="*/ 219 h 240"/>
                <a:gd name="T8" fmla="*/ 20 w 240"/>
                <a:gd name="T9" fmla="*/ 188 h 240"/>
                <a:gd name="T10" fmla="*/ 42 w 240"/>
                <a:gd name="T11" fmla="*/ 164 h 240"/>
                <a:gd name="T12" fmla="*/ 4 w 240"/>
                <a:gd name="T13" fmla="*/ 136 h 240"/>
                <a:gd name="T14" fmla="*/ 0 w 240"/>
                <a:gd name="T15" fmla="*/ 100 h 240"/>
                <a:gd name="T16" fmla="*/ 34 w 240"/>
                <a:gd name="T17" fmla="*/ 96 h 240"/>
                <a:gd name="T18" fmla="*/ 21 w 240"/>
                <a:gd name="T19" fmla="*/ 55 h 240"/>
                <a:gd name="T20" fmla="*/ 49 w 240"/>
                <a:gd name="T21" fmla="*/ 21 h 240"/>
                <a:gd name="T22" fmla="*/ 76 w 240"/>
                <a:gd name="T23" fmla="*/ 42 h 240"/>
                <a:gd name="T24" fmla="*/ 96 w 240"/>
                <a:gd name="T25" fmla="*/ 4 h 240"/>
                <a:gd name="T26" fmla="*/ 140 w 240"/>
                <a:gd name="T27" fmla="*/ 0 h 240"/>
                <a:gd name="T28" fmla="*/ 144 w 240"/>
                <a:gd name="T29" fmla="*/ 34 h 240"/>
                <a:gd name="T30" fmla="*/ 185 w 240"/>
                <a:gd name="T31" fmla="*/ 21 h 240"/>
                <a:gd name="T32" fmla="*/ 219 w 240"/>
                <a:gd name="T33" fmla="*/ 49 h 240"/>
                <a:gd name="T34" fmla="*/ 219 w 240"/>
                <a:gd name="T35" fmla="*/ 55 h 240"/>
                <a:gd name="T36" fmla="*/ 206 w 240"/>
                <a:gd name="T37" fmla="*/ 96 h 240"/>
                <a:gd name="T38" fmla="*/ 240 w 240"/>
                <a:gd name="T39" fmla="*/ 100 h 240"/>
                <a:gd name="T40" fmla="*/ 236 w 240"/>
                <a:gd name="T41" fmla="*/ 136 h 240"/>
                <a:gd name="T42" fmla="*/ 198 w 240"/>
                <a:gd name="T43" fmla="*/ 164 h 240"/>
                <a:gd name="T44" fmla="*/ 219 w 240"/>
                <a:gd name="T45" fmla="*/ 191 h 240"/>
                <a:gd name="T46" fmla="*/ 185 w 240"/>
                <a:gd name="T47" fmla="*/ 219 h 240"/>
                <a:gd name="T48" fmla="*/ 149 w 240"/>
                <a:gd name="T49" fmla="*/ 204 h 240"/>
                <a:gd name="T50" fmla="*/ 144 w 240"/>
                <a:gd name="T51" fmla="*/ 236 h 240"/>
                <a:gd name="T52" fmla="*/ 104 w 240"/>
                <a:gd name="T53" fmla="*/ 232 h 240"/>
                <a:gd name="T54" fmla="*/ 136 w 240"/>
                <a:gd name="T55" fmla="*/ 203 h 240"/>
                <a:gd name="T56" fmla="*/ 146 w 240"/>
                <a:gd name="T57" fmla="*/ 196 h 240"/>
                <a:gd name="T58" fmla="*/ 167 w 240"/>
                <a:gd name="T59" fmla="*/ 190 h 240"/>
                <a:gd name="T60" fmla="*/ 211 w 240"/>
                <a:gd name="T61" fmla="*/ 188 h 240"/>
                <a:gd name="T62" fmla="*/ 190 w 240"/>
                <a:gd name="T63" fmla="*/ 163 h 240"/>
                <a:gd name="T64" fmla="*/ 199 w 240"/>
                <a:gd name="T65" fmla="*/ 132 h 240"/>
                <a:gd name="T66" fmla="*/ 232 w 240"/>
                <a:gd name="T67" fmla="*/ 128 h 240"/>
                <a:gd name="T68" fmla="*/ 203 w 240"/>
                <a:gd name="T69" fmla="*/ 104 h 240"/>
                <a:gd name="T70" fmla="*/ 190 w 240"/>
                <a:gd name="T71" fmla="*/ 77 h 240"/>
                <a:gd name="T72" fmla="*/ 211 w 240"/>
                <a:gd name="T73" fmla="*/ 52 h 240"/>
                <a:gd name="T74" fmla="*/ 167 w 240"/>
                <a:gd name="T75" fmla="*/ 50 h 240"/>
                <a:gd name="T76" fmla="*/ 139 w 240"/>
                <a:gd name="T77" fmla="*/ 41 h 240"/>
                <a:gd name="T78" fmla="*/ 136 w 240"/>
                <a:gd name="T79" fmla="*/ 8 h 240"/>
                <a:gd name="T80" fmla="*/ 104 w 240"/>
                <a:gd name="T81" fmla="*/ 37 h 240"/>
                <a:gd name="T82" fmla="*/ 77 w 240"/>
                <a:gd name="T83" fmla="*/ 50 h 240"/>
                <a:gd name="T84" fmla="*/ 52 w 240"/>
                <a:gd name="T85" fmla="*/ 29 h 240"/>
                <a:gd name="T86" fmla="*/ 50 w 240"/>
                <a:gd name="T87" fmla="*/ 73 h 240"/>
                <a:gd name="T88" fmla="*/ 41 w 240"/>
                <a:gd name="T89" fmla="*/ 101 h 240"/>
                <a:gd name="T90" fmla="*/ 8 w 240"/>
                <a:gd name="T91" fmla="*/ 104 h 240"/>
                <a:gd name="T92" fmla="*/ 37 w 240"/>
                <a:gd name="T93" fmla="*/ 128 h 240"/>
                <a:gd name="T94" fmla="*/ 50 w 240"/>
                <a:gd name="T95" fmla="*/ 163 h 240"/>
                <a:gd name="T96" fmla="*/ 29 w 240"/>
                <a:gd name="T97" fmla="*/ 188 h 240"/>
                <a:gd name="T98" fmla="*/ 73 w 240"/>
                <a:gd name="T99" fmla="*/ 190 h 240"/>
                <a:gd name="T100" fmla="*/ 94 w 240"/>
                <a:gd name="T101" fmla="*/ 196 h 240"/>
                <a:gd name="T102" fmla="*/ 104 w 240"/>
                <a:gd name="T103" fmla="*/ 203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40" h="240">
                  <a:moveTo>
                    <a:pt x="140" y="240"/>
                  </a:moveTo>
                  <a:cubicBezTo>
                    <a:pt x="100" y="240"/>
                    <a:pt x="100" y="240"/>
                    <a:pt x="100" y="240"/>
                  </a:cubicBezTo>
                  <a:cubicBezTo>
                    <a:pt x="98" y="240"/>
                    <a:pt x="96" y="238"/>
                    <a:pt x="96" y="236"/>
                  </a:cubicBezTo>
                  <a:cubicBezTo>
                    <a:pt x="96" y="206"/>
                    <a:pt x="96" y="206"/>
                    <a:pt x="96" y="206"/>
                  </a:cubicBezTo>
                  <a:cubicBezTo>
                    <a:pt x="95" y="205"/>
                    <a:pt x="93" y="205"/>
                    <a:pt x="91" y="204"/>
                  </a:cubicBezTo>
                  <a:cubicBezTo>
                    <a:pt x="86" y="202"/>
                    <a:pt x="81" y="200"/>
                    <a:pt x="76" y="198"/>
                  </a:cubicBezTo>
                  <a:cubicBezTo>
                    <a:pt x="55" y="219"/>
                    <a:pt x="55" y="219"/>
                    <a:pt x="55" y="219"/>
                  </a:cubicBezTo>
                  <a:cubicBezTo>
                    <a:pt x="54" y="221"/>
                    <a:pt x="51" y="221"/>
                    <a:pt x="49" y="219"/>
                  </a:cubicBezTo>
                  <a:cubicBezTo>
                    <a:pt x="21" y="191"/>
                    <a:pt x="21" y="191"/>
                    <a:pt x="21" y="191"/>
                  </a:cubicBezTo>
                  <a:cubicBezTo>
                    <a:pt x="20" y="190"/>
                    <a:pt x="20" y="189"/>
                    <a:pt x="20" y="188"/>
                  </a:cubicBezTo>
                  <a:cubicBezTo>
                    <a:pt x="20" y="187"/>
                    <a:pt x="20" y="186"/>
                    <a:pt x="21" y="185"/>
                  </a:cubicBezTo>
                  <a:cubicBezTo>
                    <a:pt x="42" y="164"/>
                    <a:pt x="42" y="164"/>
                    <a:pt x="42" y="164"/>
                  </a:cubicBezTo>
                  <a:cubicBezTo>
                    <a:pt x="38" y="157"/>
                    <a:pt x="35" y="146"/>
                    <a:pt x="33" y="136"/>
                  </a:cubicBezTo>
                  <a:cubicBezTo>
                    <a:pt x="4" y="136"/>
                    <a:pt x="4" y="136"/>
                    <a:pt x="4" y="136"/>
                  </a:cubicBezTo>
                  <a:cubicBezTo>
                    <a:pt x="2" y="136"/>
                    <a:pt x="0" y="134"/>
                    <a:pt x="0" y="132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98"/>
                    <a:pt x="2" y="96"/>
                    <a:pt x="4" y="96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5" y="91"/>
                    <a:pt x="39" y="82"/>
                    <a:pt x="42" y="76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19" y="54"/>
                    <a:pt x="19" y="51"/>
                    <a:pt x="21" y="49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51" y="19"/>
                    <a:pt x="54" y="19"/>
                    <a:pt x="55" y="21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82" y="38"/>
                    <a:pt x="91" y="35"/>
                    <a:pt x="96" y="34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6" y="2"/>
                    <a:pt x="98" y="0"/>
                    <a:pt x="100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2" y="0"/>
                    <a:pt x="144" y="2"/>
                    <a:pt x="144" y="4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9" y="35"/>
                    <a:pt x="158" y="38"/>
                    <a:pt x="164" y="42"/>
                  </a:cubicBezTo>
                  <a:cubicBezTo>
                    <a:pt x="185" y="21"/>
                    <a:pt x="185" y="21"/>
                    <a:pt x="185" y="21"/>
                  </a:cubicBezTo>
                  <a:cubicBezTo>
                    <a:pt x="186" y="19"/>
                    <a:pt x="189" y="19"/>
                    <a:pt x="191" y="21"/>
                  </a:cubicBezTo>
                  <a:cubicBezTo>
                    <a:pt x="219" y="49"/>
                    <a:pt x="219" y="49"/>
                    <a:pt x="219" y="49"/>
                  </a:cubicBezTo>
                  <a:cubicBezTo>
                    <a:pt x="220" y="50"/>
                    <a:pt x="220" y="51"/>
                    <a:pt x="220" y="52"/>
                  </a:cubicBezTo>
                  <a:cubicBezTo>
                    <a:pt x="220" y="53"/>
                    <a:pt x="220" y="54"/>
                    <a:pt x="219" y="55"/>
                  </a:cubicBezTo>
                  <a:cubicBezTo>
                    <a:pt x="198" y="76"/>
                    <a:pt x="198" y="76"/>
                    <a:pt x="198" y="76"/>
                  </a:cubicBezTo>
                  <a:cubicBezTo>
                    <a:pt x="202" y="82"/>
                    <a:pt x="204" y="89"/>
                    <a:pt x="206" y="96"/>
                  </a:cubicBezTo>
                  <a:cubicBezTo>
                    <a:pt x="236" y="96"/>
                    <a:pt x="236" y="96"/>
                    <a:pt x="236" y="96"/>
                  </a:cubicBezTo>
                  <a:cubicBezTo>
                    <a:pt x="238" y="96"/>
                    <a:pt x="240" y="98"/>
                    <a:pt x="240" y="100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40" y="134"/>
                    <a:pt x="238" y="136"/>
                    <a:pt x="236" y="136"/>
                  </a:cubicBezTo>
                  <a:cubicBezTo>
                    <a:pt x="207" y="136"/>
                    <a:pt x="207" y="136"/>
                    <a:pt x="207" y="136"/>
                  </a:cubicBezTo>
                  <a:cubicBezTo>
                    <a:pt x="205" y="152"/>
                    <a:pt x="202" y="158"/>
                    <a:pt x="198" y="164"/>
                  </a:cubicBezTo>
                  <a:cubicBezTo>
                    <a:pt x="219" y="185"/>
                    <a:pt x="219" y="185"/>
                    <a:pt x="219" y="185"/>
                  </a:cubicBezTo>
                  <a:cubicBezTo>
                    <a:pt x="221" y="186"/>
                    <a:pt x="221" y="189"/>
                    <a:pt x="219" y="191"/>
                  </a:cubicBezTo>
                  <a:cubicBezTo>
                    <a:pt x="191" y="219"/>
                    <a:pt x="191" y="219"/>
                    <a:pt x="191" y="219"/>
                  </a:cubicBezTo>
                  <a:cubicBezTo>
                    <a:pt x="189" y="221"/>
                    <a:pt x="186" y="221"/>
                    <a:pt x="185" y="219"/>
                  </a:cubicBezTo>
                  <a:cubicBezTo>
                    <a:pt x="164" y="198"/>
                    <a:pt x="164" y="198"/>
                    <a:pt x="164" y="198"/>
                  </a:cubicBezTo>
                  <a:cubicBezTo>
                    <a:pt x="159" y="200"/>
                    <a:pt x="154" y="202"/>
                    <a:pt x="149" y="204"/>
                  </a:cubicBezTo>
                  <a:cubicBezTo>
                    <a:pt x="147" y="205"/>
                    <a:pt x="145" y="205"/>
                    <a:pt x="144" y="206"/>
                  </a:cubicBezTo>
                  <a:cubicBezTo>
                    <a:pt x="144" y="236"/>
                    <a:pt x="144" y="236"/>
                    <a:pt x="144" y="236"/>
                  </a:cubicBezTo>
                  <a:cubicBezTo>
                    <a:pt x="144" y="238"/>
                    <a:pt x="142" y="240"/>
                    <a:pt x="140" y="240"/>
                  </a:cubicBezTo>
                  <a:close/>
                  <a:moveTo>
                    <a:pt x="104" y="232"/>
                  </a:moveTo>
                  <a:cubicBezTo>
                    <a:pt x="136" y="232"/>
                    <a:pt x="136" y="232"/>
                    <a:pt x="136" y="232"/>
                  </a:cubicBezTo>
                  <a:cubicBezTo>
                    <a:pt x="136" y="203"/>
                    <a:pt x="136" y="203"/>
                    <a:pt x="136" y="203"/>
                  </a:cubicBezTo>
                  <a:cubicBezTo>
                    <a:pt x="136" y="202"/>
                    <a:pt x="137" y="200"/>
                    <a:pt x="138" y="200"/>
                  </a:cubicBezTo>
                  <a:cubicBezTo>
                    <a:pt x="140" y="199"/>
                    <a:pt x="143" y="198"/>
                    <a:pt x="146" y="196"/>
                  </a:cubicBezTo>
                  <a:cubicBezTo>
                    <a:pt x="152" y="195"/>
                    <a:pt x="158" y="192"/>
                    <a:pt x="163" y="190"/>
                  </a:cubicBezTo>
                  <a:cubicBezTo>
                    <a:pt x="164" y="189"/>
                    <a:pt x="166" y="189"/>
                    <a:pt x="167" y="190"/>
                  </a:cubicBezTo>
                  <a:cubicBezTo>
                    <a:pt x="188" y="211"/>
                    <a:pt x="188" y="211"/>
                    <a:pt x="188" y="211"/>
                  </a:cubicBezTo>
                  <a:cubicBezTo>
                    <a:pt x="211" y="188"/>
                    <a:pt x="211" y="188"/>
                    <a:pt x="211" y="188"/>
                  </a:cubicBezTo>
                  <a:cubicBezTo>
                    <a:pt x="190" y="167"/>
                    <a:pt x="190" y="167"/>
                    <a:pt x="190" y="167"/>
                  </a:cubicBezTo>
                  <a:cubicBezTo>
                    <a:pt x="189" y="166"/>
                    <a:pt x="189" y="164"/>
                    <a:pt x="190" y="163"/>
                  </a:cubicBezTo>
                  <a:cubicBezTo>
                    <a:pt x="190" y="162"/>
                    <a:pt x="190" y="162"/>
                    <a:pt x="190" y="162"/>
                  </a:cubicBezTo>
                  <a:cubicBezTo>
                    <a:pt x="194" y="155"/>
                    <a:pt x="197" y="150"/>
                    <a:pt x="199" y="132"/>
                  </a:cubicBezTo>
                  <a:cubicBezTo>
                    <a:pt x="199" y="130"/>
                    <a:pt x="201" y="128"/>
                    <a:pt x="203" y="128"/>
                  </a:cubicBezTo>
                  <a:cubicBezTo>
                    <a:pt x="232" y="128"/>
                    <a:pt x="232" y="128"/>
                    <a:pt x="232" y="128"/>
                  </a:cubicBezTo>
                  <a:cubicBezTo>
                    <a:pt x="232" y="104"/>
                    <a:pt x="232" y="104"/>
                    <a:pt x="232" y="104"/>
                  </a:cubicBezTo>
                  <a:cubicBezTo>
                    <a:pt x="203" y="104"/>
                    <a:pt x="203" y="104"/>
                    <a:pt x="203" y="104"/>
                  </a:cubicBezTo>
                  <a:cubicBezTo>
                    <a:pt x="201" y="104"/>
                    <a:pt x="200" y="103"/>
                    <a:pt x="199" y="101"/>
                  </a:cubicBezTo>
                  <a:cubicBezTo>
                    <a:pt x="197" y="93"/>
                    <a:pt x="194" y="84"/>
                    <a:pt x="190" y="77"/>
                  </a:cubicBezTo>
                  <a:cubicBezTo>
                    <a:pt x="189" y="76"/>
                    <a:pt x="189" y="74"/>
                    <a:pt x="190" y="73"/>
                  </a:cubicBezTo>
                  <a:cubicBezTo>
                    <a:pt x="211" y="52"/>
                    <a:pt x="211" y="52"/>
                    <a:pt x="211" y="52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67" y="50"/>
                    <a:pt x="167" y="50"/>
                    <a:pt x="167" y="50"/>
                  </a:cubicBezTo>
                  <a:cubicBezTo>
                    <a:pt x="166" y="51"/>
                    <a:pt x="164" y="51"/>
                    <a:pt x="163" y="50"/>
                  </a:cubicBezTo>
                  <a:cubicBezTo>
                    <a:pt x="155" y="46"/>
                    <a:pt x="143" y="41"/>
                    <a:pt x="139" y="41"/>
                  </a:cubicBezTo>
                  <a:cubicBezTo>
                    <a:pt x="137" y="40"/>
                    <a:pt x="136" y="39"/>
                    <a:pt x="136" y="37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9"/>
                    <a:pt x="103" y="40"/>
                    <a:pt x="101" y="41"/>
                  </a:cubicBezTo>
                  <a:cubicBezTo>
                    <a:pt x="96" y="42"/>
                    <a:pt x="85" y="46"/>
                    <a:pt x="77" y="50"/>
                  </a:cubicBezTo>
                  <a:cubicBezTo>
                    <a:pt x="76" y="51"/>
                    <a:pt x="74" y="51"/>
                    <a:pt x="73" y="50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1" y="74"/>
                    <a:pt x="51" y="76"/>
                    <a:pt x="50" y="77"/>
                  </a:cubicBezTo>
                  <a:cubicBezTo>
                    <a:pt x="46" y="85"/>
                    <a:pt x="42" y="96"/>
                    <a:pt x="41" y="101"/>
                  </a:cubicBezTo>
                  <a:cubicBezTo>
                    <a:pt x="40" y="103"/>
                    <a:pt x="39" y="104"/>
                    <a:pt x="37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28"/>
                    <a:pt x="8" y="128"/>
                    <a:pt x="8" y="128"/>
                  </a:cubicBezTo>
                  <a:cubicBezTo>
                    <a:pt x="37" y="128"/>
                    <a:pt x="37" y="128"/>
                    <a:pt x="37" y="128"/>
                  </a:cubicBezTo>
                  <a:cubicBezTo>
                    <a:pt x="39" y="128"/>
                    <a:pt x="40" y="129"/>
                    <a:pt x="41" y="131"/>
                  </a:cubicBezTo>
                  <a:cubicBezTo>
                    <a:pt x="42" y="143"/>
                    <a:pt x="46" y="156"/>
                    <a:pt x="50" y="163"/>
                  </a:cubicBezTo>
                  <a:cubicBezTo>
                    <a:pt x="51" y="164"/>
                    <a:pt x="51" y="166"/>
                    <a:pt x="50" y="167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52" y="211"/>
                    <a:pt x="52" y="211"/>
                    <a:pt x="52" y="211"/>
                  </a:cubicBezTo>
                  <a:cubicBezTo>
                    <a:pt x="73" y="190"/>
                    <a:pt x="73" y="190"/>
                    <a:pt x="73" y="190"/>
                  </a:cubicBezTo>
                  <a:cubicBezTo>
                    <a:pt x="74" y="189"/>
                    <a:pt x="76" y="189"/>
                    <a:pt x="77" y="190"/>
                  </a:cubicBezTo>
                  <a:cubicBezTo>
                    <a:pt x="82" y="192"/>
                    <a:pt x="88" y="195"/>
                    <a:pt x="94" y="196"/>
                  </a:cubicBezTo>
                  <a:cubicBezTo>
                    <a:pt x="97" y="198"/>
                    <a:pt x="100" y="199"/>
                    <a:pt x="102" y="200"/>
                  </a:cubicBezTo>
                  <a:cubicBezTo>
                    <a:pt x="103" y="200"/>
                    <a:pt x="104" y="202"/>
                    <a:pt x="104" y="203"/>
                  </a:cubicBezTo>
                  <a:lnTo>
                    <a:pt x="104" y="2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1" name="Freeform 583">
              <a:extLst>
                <a:ext uri="{FF2B5EF4-FFF2-40B4-BE49-F238E27FC236}">
                  <a16:creationId xmlns:a16="http://schemas.microsoft.com/office/drawing/2014/main" id="{646A940D-FF88-8ED2-7576-1A96509FBC7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0089" y="6607175"/>
              <a:ext cx="144463" cy="144463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8 h 96"/>
                <a:gd name="T12" fmla="*/ 8 w 96"/>
                <a:gd name="T13" fmla="*/ 48 h 96"/>
                <a:gd name="T14" fmla="*/ 48 w 96"/>
                <a:gd name="T15" fmla="*/ 88 h 96"/>
                <a:gd name="T16" fmla="*/ 88 w 96"/>
                <a:gd name="T17" fmla="*/ 48 h 96"/>
                <a:gd name="T18" fmla="*/ 48 w 96"/>
                <a:gd name="T19" fmla="*/ 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4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4" y="0"/>
                    <a:pt x="96" y="22"/>
                    <a:pt x="96" y="48"/>
                  </a:cubicBezTo>
                  <a:cubicBezTo>
                    <a:pt x="96" y="74"/>
                    <a:pt x="74" y="96"/>
                    <a:pt x="48" y="96"/>
                  </a:cubicBezTo>
                  <a:close/>
                  <a:moveTo>
                    <a:pt x="48" y="8"/>
                  </a:moveTo>
                  <a:cubicBezTo>
                    <a:pt x="26" y="8"/>
                    <a:pt x="8" y="26"/>
                    <a:pt x="8" y="48"/>
                  </a:cubicBezTo>
                  <a:cubicBezTo>
                    <a:pt x="8" y="70"/>
                    <a:pt x="26" y="88"/>
                    <a:pt x="48" y="88"/>
                  </a:cubicBezTo>
                  <a:cubicBezTo>
                    <a:pt x="70" y="88"/>
                    <a:pt x="88" y="70"/>
                    <a:pt x="88" y="48"/>
                  </a:cubicBezTo>
                  <a:cubicBezTo>
                    <a:pt x="88" y="26"/>
                    <a:pt x="70" y="8"/>
                    <a:pt x="4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52" name="Gruppieren 155">
            <a:extLst>
              <a:ext uri="{FF2B5EF4-FFF2-40B4-BE49-F238E27FC236}">
                <a16:creationId xmlns:a16="http://schemas.microsoft.com/office/drawing/2014/main" id="{6ECC1948-430C-A9BD-BF77-F6799CB4075A}"/>
              </a:ext>
            </a:extLst>
          </p:cNvPr>
          <p:cNvGrpSpPr>
            <a:grpSpLocks/>
          </p:cNvGrpSpPr>
          <p:nvPr/>
        </p:nvGrpSpPr>
        <p:grpSpPr bwMode="gray">
          <a:xfrm>
            <a:off x="3425813" y="4643332"/>
            <a:ext cx="174960" cy="174960"/>
            <a:chOff x="1862139" y="6499225"/>
            <a:chExt cx="360363" cy="360363"/>
          </a:xfrm>
          <a:solidFill>
            <a:schemeClr val="accent6"/>
          </a:solidFill>
        </p:grpSpPr>
        <p:sp>
          <p:nvSpPr>
            <p:cNvPr id="153" name="Freeform 582">
              <a:extLst>
                <a:ext uri="{FF2B5EF4-FFF2-40B4-BE49-F238E27FC236}">
                  <a16:creationId xmlns:a16="http://schemas.microsoft.com/office/drawing/2014/main" id="{02578FC2-0479-4B04-F306-10EBBFCBA642}"/>
                </a:ext>
              </a:extLst>
            </p:cNvPr>
            <p:cNvSpPr>
              <a:spLocks/>
            </p:cNvSpPr>
            <p:nvPr/>
          </p:nvSpPr>
          <p:spPr bwMode="gray">
            <a:xfrm>
              <a:off x="1862139" y="6499225"/>
              <a:ext cx="360363" cy="360363"/>
            </a:xfrm>
            <a:custGeom>
              <a:avLst/>
              <a:gdLst>
                <a:gd name="T0" fmla="*/ 100 w 240"/>
                <a:gd name="T1" fmla="*/ 240 h 240"/>
                <a:gd name="T2" fmla="*/ 96 w 240"/>
                <a:gd name="T3" fmla="*/ 206 h 240"/>
                <a:gd name="T4" fmla="*/ 76 w 240"/>
                <a:gd name="T5" fmla="*/ 198 h 240"/>
                <a:gd name="T6" fmla="*/ 49 w 240"/>
                <a:gd name="T7" fmla="*/ 219 h 240"/>
                <a:gd name="T8" fmla="*/ 20 w 240"/>
                <a:gd name="T9" fmla="*/ 188 h 240"/>
                <a:gd name="T10" fmla="*/ 42 w 240"/>
                <a:gd name="T11" fmla="*/ 164 h 240"/>
                <a:gd name="T12" fmla="*/ 4 w 240"/>
                <a:gd name="T13" fmla="*/ 136 h 240"/>
                <a:gd name="T14" fmla="*/ 0 w 240"/>
                <a:gd name="T15" fmla="*/ 100 h 240"/>
                <a:gd name="T16" fmla="*/ 34 w 240"/>
                <a:gd name="T17" fmla="*/ 96 h 240"/>
                <a:gd name="T18" fmla="*/ 21 w 240"/>
                <a:gd name="T19" fmla="*/ 55 h 240"/>
                <a:gd name="T20" fmla="*/ 49 w 240"/>
                <a:gd name="T21" fmla="*/ 21 h 240"/>
                <a:gd name="T22" fmla="*/ 76 w 240"/>
                <a:gd name="T23" fmla="*/ 42 h 240"/>
                <a:gd name="T24" fmla="*/ 96 w 240"/>
                <a:gd name="T25" fmla="*/ 4 h 240"/>
                <a:gd name="T26" fmla="*/ 140 w 240"/>
                <a:gd name="T27" fmla="*/ 0 h 240"/>
                <a:gd name="T28" fmla="*/ 144 w 240"/>
                <a:gd name="T29" fmla="*/ 34 h 240"/>
                <a:gd name="T30" fmla="*/ 185 w 240"/>
                <a:gd name="T31" fmla="*/ 21 h 240"/>
                <a:gd name="T32" fmla="*/ 219 w 240"/>
                <a:gd name="T33" fmla="*/ 49 h 240"/>
                <a:gd name="T34" fmla="*/ 219 w 240"/>
                <a:gd name="T35" fmla="*/ 55 h 240"/>
                <a:gd name="T36" fmla="*/ 206 w 240"/>
                <a:gd name="T37" fmla="*/ 96 h 240"/>
                <a:gd name="T38" fmla="*/ 240 w 240"/>
                <a:gd name="T39" fmla="*/ 100 h 240"/>
                <a:gd name="T40" fmla="*/ 236 w 240"/>
                <a:gd name="T41" fmla="*/ 136 h 240"/>
                <a:gd name="T42" fmla="*/ 198 w 240"/>
                <a:gd name="T43" fmla="*/ 164 h 240"/>
                <a:gd name="T44" fmla="*/ 219 w 240"/>
                <a:gd name="T45" fmla="*/ 191 h 240"/>
                <a:gd name="T46" fmla="*/ 185 w 240"/>
                <a:gd name="T47" fmla="*/ 219 h 240"/>
                <a:gd name="T48" fmla="*/ 149 w 240"/>
                <a:gd name="T49" fmla="*/ 204 h 240"/>
                <a:gd name="T50" fmla="*/ 144 w 240"/>
                <a:gd name="T51" fmla="*/ 236 h 240"/>
                <a:gd name="T52" fmla="*/ 104 w 240"/>
                <a:gd name="T53" fmla="*/ 232 h 240"/>
                <a:gd name="T54" fmla="*/ 136 w 240"/>
                <a:gd name="T55" fmla="*/ 203 h 240"/>
                <a:gd name="T56" fmla="*/ 146 w 240"/>
                <a:gd name="T57" fmla="*/ 196 h 240"/>
                <a:gd name="T58" fmla="*/ 167 w 240"/>
                <a:gd name="T59" fmla="*/ 190 h 240"/>
                <a:gd name="T60" fmla="*/ 211 w 240"/>
                <a:gd name="T61" fmla="*/ 188 h 240"/>
                <a:gd name="T62" fmla="*/ 190 w 240"/>
                <a:gd name="T63" fmla="*/ 163 h 240"/>
                <a:gd name="T64" fmla="*/ 199 w 240"/>
                <a:gd name="T65" fmla="*/ 132 h 240"/>
                <a:gd name="T66" fmla="*/ 232 w 240"/>
                <a:gd name="T67" fmla="*/ 128 h 240"/>
                <a:gd name="T68" fmla="*/ 203 w 240"/>
                <a:gd name="T69" fmla="*/ 104 h 240"/>
                <a:gd name="T70" fmla="*/ 190 w 240"/>
                <a:gd name="T71" fmla="*/ 77 h 240"/>
                <a:gd name="T72" fmla="*/ 211 w 240"/>
                <a:gd name="T73" fmla="*/ 52 h 240"/>
                <a:gd name="T74" fmla="*/ 167 w 240"/>
                <a:gd name="T75" fmla="*/ 50 h 240"/>
                <a:gd name="T76" fmla="*/ 139 w 240"/>
                <a:gd name="T77" fmla="*/ 41 h 240"/>
                <a:gd name="T78" fmla="*/ 136 w 240"/>
                <a:gd name="T79" fmla="*/ 8 h 240"/>
                <a:gd name="T80" fmla="*/ 104 w 240"/>
                <a:gd name="T81" fmla="*/ 37 h 240"/>
                <a:gd name="T82" fmla="*/ 77 w 240"/>
                <a:gd name="T83" fmla="*/ 50 h 240"/>
                <a:gd name="T84" fmla="*/ 52 w 240"/>
                <a:gd name="T85" fmla="*/ 29 h 240"/>
                <a:gd name="T86" fmla="*/ 50 w 240"/>
                <a:gd name="T87" fmla="*/ 73 h 240"/>
                <a:gd name="T88" fmla="*/ 41 w 240"/>
                <a:gd name="T89" fmla="*/ 101 h 240"/>
                <a:gd name="T90" fmla="*/ 8 w 240"/>
                <a:gd name="T91" fmla="*/ 104 h 240"/>
                <a:gd name="T92" fmla="*/ 37 w 240"/>
                <a:gd name="T93" fmla="*/ 128 h 240"/>
                <a:gd name="T94" fmla="*/ 50 w 240"/>
                <a:gd name="T95" fmla="*/ 163 h 240"/>
                <a:gd name="T96" fmla="*/ 29 w 240"/>
                <a:gd name="T97" fmla="*/ 188 h 240"/>
                <a:gd name="T98" fmla="*/ 73 w 240"/>
                <a:gd name="T99" fmla="*/ 190 h 240"/>
                <a:gd name="T100" fmla="*/ 94 w 240"/>
                <a:gd name="T101" fmla="*/ 196 h 240"/>
                <a:gd name="T102" fmla="*/ 104 w 240"/>
                <a:gd name="T103" fmla="*/ 203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40" h="240">
                  <a:moveTo>
                    <a:pt x="140" y="240"/>
                  </a:moveTo>
                  <a:cubicBezTo>
                    <a:pt x="100" y="240"/>
                    <a:pt x="100" y="240"/>
                    <a:pt x="100" y="240"/>
                  </a:cubicBezTo>
                  <a:cubicBezTo>
                    <a:pt x="98" y="240"/>
                    <a:pt x="96" y="238"/>
                    <a:pt x="96" y="236"/>
                  </a:cubicBezTo>
                  <a:cubicBezTo>
                    <a:pt x="96" y="206"/>
                    <a:pt x="96" y="206"/>
                    <a:pt x="96" y="206"/>
                  </a:cubicBezTo>
                  <a:cubicBezTo>
                    <a:pt x="95" y="205"/>
                    <a:pt x="93" y="205"/>
                    <a:pt x="91" y="204"/>
                  </a:cubicBezTo>
                  <a:cubicBezTo>
                    <a:pt x="86" y="202"/>
                    <a:pt x="81" y="200"/>
                    <a:pt x="76" y="198"/>
                  </a:cubicBezTo>
                  <a:cubicBezTo>
                    <a:pt x="55" y="219"/>
                    <a:pt x="55" y="219"/>
                    <a:pt x="55" y="219"/>
                  </a:cubicBezTo>
                  <a:cubicBezTo>
                    <a:pt x="54" y="221"/>
                    <a:pt x="51" y="221"/>
                    <a:pt x="49" y="219"/>
                  </a:cubicBezTo>
                  <a:cubicBezTo>
                    <a:pt x="21" y="191"/>
                    <a:pt x="21" y="191"/>
                    <a:pt x="21" y="191"/>
                  </a:cubicBezTo>
                  <a:cubicBezTo>
                    <a:pt x="20" y="190"/>
                    <a:pt x="20" y="189"/>
                    <a:pt x="20" y="188"/>
                  </a:cubicBezTo>
                  <a:cubicBezTo>
                    <a:pt x="20" y="187"/>
                    <a:pt x="20" y="186"/>
                    <a:pt x="21" y="185"/>
                  </a:cubicBezTo>
                  <a:cubicBezTo>
                    <a:pt x="42" y="164"/>
                    <a:pt x="42" y="164"/>
                    <a:pt x="42" y="164"/>
                  </a:cubicBezTo>
                  <a:cubicBezTo>
                    <a:pt x="38" y="157"/>
                    <a:pt x="35" y="146"/>
                    <a:pt x="33" y="136"/>
                  </a:cubicBezTo>
                  <a:cubicBezTo>
                    <a:pt x="4" y="136"/>
                    <a:pt x="4" y="136"/>
                    <a:pt x="4" y="136"/>
                  </a:cubicBezTo>
                  <a:cubicBezTo>
                    <a:pt x="2" y="136"/>
                    <a:pt x="0" y="134"/>
                    <a:pt x="0" y="132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98"/>
                    <a:pt x="2" y="96"/>
                    <a:pt x="4" y="96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5" y="91"/>
                    <a:pt x="39" y="82"/>
                    <a:pt x="42" y="76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19" y="54"/>
                    <a:pt x="19" y="51"/>
                    <a:pt x="21" y="49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51" y="19"/>
                    <a:pt x="54" y="19"/>
                    <a:pt x="55" y="21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82" y="38"/>
                    <a:pt x="91" y="35"/>
                    <a:pt x="96" y="34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6" y="2"/>
                    <a:pt x="98" y="0"/>
                    <a:pt x="100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2" y="0"/>
                    <a:pt x="144" y="2"/>
                    <a:pt x="144" y="4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9" y="35"/>
                    <a:pt x="158" y="38"/>
                    <a:pt x="164" y="42"/>
                  </a:cubicBezTo>
                  <a:cubicBezTo>
                    <a:pt x="185" y="21"/>
                    <a:pt x="185" y="21"/>
                    <a:pt x="185" y="21"/>
                  </a:cubicBezTo>
                  <a:cubicBezTo>
                    <a:pt x="186" y="19"/>
                    <a:pt x="189" y="19"/>
                    <a:pt x="191" y="21"/>
                  </a:cubicBezTo>
                  <a:cubicBezTo>
                    <a:pt x="219" y="49"/>
                    <a:pt x="219" y="49"/>
                    <a:pt x="219" y="49"/>
                  </a:cubicBezTo>
                  <a:cubicBezTo>
                    <a:pt x="220" y="50"/>
                    <a:pt x="220" y="51"/>
                    <a:pt x="220" y="52"/>
                  </a:cubicBezTo>
                  <a:cubicBezTo>
                    <a:pt x="220" y="53"/>
                    <a:pt x="220" y="54"/>
                    <a:pt x="219" y="55"/>
                  </a:cubicBezTo>
                  <a:cubicBezTo>
                    <a:pt x="198" y="76"/>
                    <a:pt x="198" y="76"/>
                    <a:pt x="198" y="76"/>
                  </a:cubicBezTo>
                  <a:cubicBezTo>
                    <a:pt x="202" y="82"/>
                    <a:pt x="204" y="89"/>
                    <a:pt x="206" y="96"/>
                  </a:cubicBezTo>
                  <a:cubicBezTo>
                    <a:pt x="236" y="96"/>
                    <a:pt x="236" y="96"/>
                    <a:pt x="236" y="96"/>
                  </a:cubicBezTo>
                  <a:cubicBezTo>
                    <a:pt x="238" y="96"/>
                    <a:pt x="240" y="98"/>
                    <a:pt x="240" y="100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40" y="134"/>
                    <a:pt x="238" y="136"/>
                    <a:pt x="236" y="136"/>
                  </a:cubicBezTo>
                  <a:cubicBezTo>
                    <a:pt x="207" y="136"/>
                    <a:pt x="207" y="136"/>
                    <a:pt x="207" y="136"/>
                  </a:cubicBezTo>
                  <a:cubicBezTo>
                    <a:pt x="205" y="152"/>
                    <a:pt x="202" y="158"/>
                    <a:pt x="198" y="164"/>
                  </a:cubicBezTo>
                  <a:cubicBezTo>
                    <a:pt x="219" y="185"/>
                    <a:pt x="219" y="185"/>
                    <a:pt x="219" y="185"/>
                  </a:cubicBezTo>
                  <a:cubicBezTo>
                    <a:pt x="221" y="186"/>
                    <a:pt x="221" y="189"/>
                    <a:pt x="219" y="191"/>
                  </a:cubicBezTo>
                  <a:cubicBezTo>
                    <a:pt x="191" y="219"/>
                    <a:pt x="191" y="219"/>
                    <a:pt x="191" y="219"/>
                  </a:cubicBezTo>
                  <a:cubicBezTo>
                    <a:pt x="189" y="221"/>
                    <a:pt x="186" y="221"/>
                    <a:pt x="185" y="219"/>
                  </a:cubicBezTo>
                  <a:cubicBezTo>
                    <a:pt x="164" y="198"/>
                    <a:pt x="164" y="198"/>
                    <a:pt x="164" y="198"/>
                  </a:cubicBezTo>
                  <a:cubicBezTo>
                    <a:pt x="159" y="200"/>
                    <a:pt x="154" y="202"/>
                    <a:pt x="149" y="204"/>
                  </a:cubicBezTo>
                  <a:cubicBezTo>
                    <a:pt x="147" y="205"/>
                    <a:pt x="145" y="205"/>
                    <a:pt x="144" y="206"/>
                  </a:cubicBezTo>
                  <a:cubicBezTo>
                    <a:pt x="144" y="236"/>
                    <a:pt x="144" y="236"/>
                    <a:pt x="144" y="236"/>
                  </a:cubicBezTo>
                  <a:cubicBezTo>
                    <a:pt x="144" y="238"/>
                    <a:pt x="142" y="240"/>
                    <a:pt x="140" y="240"/>
                  </a:cubicBezTo>
                  <a:close/>
                  <a:moveTo>
                    <a:pt x="104" y="232"/>
                  </a:moveTo>
                  <a:cubicBezTo>
                    <a:pt x="136" y="232"/>
                    <a:pt x="136" y="232"/>
                    <a:pt x="136" y="232"/>
                  </a:cubicBezTo>
                  <a:cubicBezTo>
                    <a:pt x="136" y="203"/>
                    <a:pt x="136" y="203"/>
                    <a:pt x="136" y="203"/>
                  </a:cubicBezTo>
                  <a:cubicBezTo>
                    <a:pt x="136" y="202"/>
                    <a:pt x="137" y="200"/>
                    <a:pt x="138" y="200"/>
                  </a:cubicBezTo>
                  <a:cubicBezTo>
                    <a:pt x="140" y="199"/>
                    <a:pt x="143" y="198"/>
                    <a:pt x="146" y="196"/>
                  </a:cubicBezTo>
                  <a:cubicBezTo>
                    <a:pt x="152" y="195"/>
                    <a:pt x="158" y="192"/>
                    <a:pt x="163" y="190"/>
                  </a:cubicBezTo>
                  <a:cubicBezTo>
                    <a:pt x="164" y="189"/>
                    <a:pt x="166" y="189"/>
                    <a:pt x="167" y="190"/>
                  </a:cubicBezTo>
                  <a:cubicBezTo>
                    <a:pt x="188" y="211"/>
                    <a:pt x="188" y="211"/>
                    <a:pt x="188" y="211"/>
                  </a:cubicBezTo>
                  <a:cubicBezTo>
                    <a:pt x="211" y="188"/>
                    <a:pt x="211" y="188"/>
                    <a:pt x="211" y="188"/>
                  </a:cubicBezTo>
                  <a:cubicBezTo>
                    <a:pt x="190" y="167"/>
                    <a:pt x="190" y="167"/>
                    <a:pt x="190" y="167"/>
                  </a:cubicBezTo>
                  <a:cubicBezTo>
                    <a:pt x="189" y="166"/>
                    <a:pt x="189" y="164"/>
                    <a:pt x="190" y="163"/>
                  </a:cubicBezTo>
                  <a:cubicBezTo>
                    <a:pt x="190" y="162"/>
                    <a:pt x="190" y="162"/>
                    <a:pt x="190" y="162"/>
                  </a:cubicBezTo>
                  <a:cubicBezTo>
                    <a:pt x="194" y="155"/>
                    <a:pt x="197" y="150"/>
                    <a:pt x="199" y="132"/>
                  </a:cubicBezTo>
                  <a:cubicBezTo>
                    <a:pt x="199" y="130"/>
                    <a:pt x="201" y="128"/>
                    <a:pt x="203" y="128"/>
                  </a:cubicBezTo>
                  <a:cubicBezTo>
                    <a:pt x="232" y="128"/>
                    <a:pt x="232" y="128"/>
                    <a:pt x="232" y="128"/>
                  </a:cubicBezTo>
                  <a:cubicBezTo>
                    <a:pt x="232" y="104"/>
                    <a:pt x="232" y="104"/>
                    <a:pt x="232" y="104"/>
                  </a:cubicBezTo>
                  <a:cubicBezTo>
                    <a:pt x="203" y="104"/>
                    <a:pt x="203" y="104"/>
                    <a:pt x="203" y="104"/>
                  </a:cubicBezTo>
                  <a:cubicBezTo>
                    <a:pt x="201" y="104"/>
                    <a:pt x="200" y="103"/>
                    <a:pt x="199" y="101"/>
                  </a:cubicBezTo>
                  <a:cubicBezTo>
                    <a:pt x="197" y="93"/>
                    <a:pt x="194" y="84"/>
                    <a:pt x="190" y="77"/>
                  </a:cubicBezTo>
                  <a:cubicBezTo>
                    <a:pt x="189" y="76"/>
                    <a:pt x="189" y="74"/>
                    <a:pt x="190" y="73"/>
                  </a:cubicBezTo>
                  <a:cubicBezTo>
                    <a:pt x="211" y="52"/>
                    <a:pt x="211" y="52"/>
                    <a:pt x="211" y="52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67" y="50"/>
                    <a:pt x="167" y="50"/>
                    <a:pt x="167" y="50"/>
                  </a:cubicBezTo>
                  <a:cubicBezTo>
                    <a:pt x="166" y="51"/>
                    <a:pt x="164" y="51"/>
                    <a:pt x="163" y="50"/>
                  </a:cubicBezTo>
                  <a:cubicBezTo>
                    <a:pt x="155" y="46"/>
                    <a:pt x="143" y="41"/>
                    <a:pt x="139" y="41"/>
                  </a:cubicBezTo>
                  <a:cubicBezTo>
                    <a:pt x="137" y="40"/>
                    <a:pt x="136" y="39"/>
                    <a:pt x="136" y="37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9"/>
                    <a:pt x="103" y="40"/>
                    <a:pt x="101" y="41"/>
                  </a:cubicBezTo>
                  <a:cubicBezTo>
                    <a:pt x="96" y="42"/>
                    <a:pt x="85" y="46"/>
                    <a:pt x="77" y="50"/>
                  </a:cubicBezTo>
                  <a:cubicBezTo>
                    <a:pt x="76" y="51"/>
                    <a:pt x="74" y="51"/>
                    <a:pt x="73" y="50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1" y="74"/>
                    <a:pt x="51" y="76"/>
                    <a:pt x="50" y="77"/>
                  </a:cubicBezTo>
                  <a:cubicBezTo>
                    <a:pt x="46" y="85"/>
                    <a:pt x="42" y="96"/>
                    <a:pt x="41" y="101"/>
                  </a:cubicBezTo>
                  <a:cubicBezTo>
                    <a:pt x="40" y="103"/>
                    <a:pt x="39" y="104"/>
                    <a:pt x="37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28"/>
                    <a:pt x="8" y="128"/>
                    <a:pt x="8" y="128"/>
                  </a:cubicBezTo>
                  <a:cubicBezTo>
                    <a:pt x="37" y="128"/>
                    <a:pt x="37" y="128"/>
                    <a:pt x="37" y="128"/>
                  </a:cubicBezTo>
                  <a:cubicBezTo>
                    <a:pt x="39" y="128"/>
                    <a:pt x="40" y="129"/>
                    <a:pt x="41" y="131"/>
                  </a:cubicBezTo>
                  <a:cubicBezTo>
                    <a:pt x="42" y="143"/>
                    <a:pt x="46" y="156"/>
                    <a:pt x="50" y="163"/>
                  </a:cubicBezTo>
                  <a:cubicBezTo>
                    <a:pt x="51" y="164"/>
                    <a:pt x="51" y="166"/>
                    <a:pt x="50" y="167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52" y="211"/>
                    <a:pt x="52" y="211"/>
                    <a:pt x="52" y="211"/>
                  </a:cubicBezTo>
                  <a:cubicBezTo>
                    <a:pt x="73" y="190"/>
                    <a:pt x="73" y="190"/>
                    <a:pt x="73" y="190"/>
                  </a:cubicBezTo>
                  <a:cubicBezTo>
                    <a:pt x="74" y="189"/>
                    <a:pt x="76" y="189"/>
                    <a:pt x="77" y="190"/>
                  </a:cubicBezTo>
                  <a:cubicBezTo>
                    <a:pt x="82" y="192"/>
                    <a:pt x="88" y="195"/>
                    <a:pt x="94" y="196"/>
                  </a:cubicBezTo>
                  <a:cubicBezTo>
                    <a:pt x="97" y="198"/>
                    <a:pt x="100" y="199"/>
                    <a:pt x="102" y="200"/>
                  </a:cubicBezTo>
                  <a:cubicBezTo>
                    <a:pt x="103" y="200"/>
                    <a:pt x="104" y="202"/>
                    <a:pt x="104" y="203"/>
                  </a:cubicBezTo>
                  <a:lnTo>
                    <a:pt x="104" y="2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4" name="Freeform 583">
              <a:extLst>
                <a:ext uri="{FF2B5EF4-FFF2-40B4-BE49-F238E27FC236}">
                  <a16:creationId xmlns:a16="http://schemas.microsoft.com/office/drawing/2014/main" id="{5DA863D1-3F77-17E0-DE2E-FFC879542ABE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0089" y="6607175"/>
              <a:ext cx="144463" cy="144463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8 h 96"/>
                <a:gd name="T12" fmla="*/ 8 w 96"/>
                <a:gd name="T13" fmla="*/ 48 h 96"/>
                <a:gd name="T14" fmla="*/ 48 w 96"/>
                <a:gd name="T15" fmla="*/ 88 h 96"/>
                <a:gd name="T16" fmla="*/ 88 w 96"/>
                <a:gd name="T17" fmla="*/ 48 h 96"/>
                <a:gd name="T18" fmla="*/ 48 w 96"/>
                <a:gd name="T19" fmla="*/ 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4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4" y="0"/>
                    <a:pt x="96" y="22"/>
                    <a:pt x="96" y="48"/>
                  </a:cubicBezTo>
                  <a:cubicBezTo>
                    <a:pt x="96" y="74"/>
                    <a:pt x="74" y="96"/>
                    <a:pt x="48" y="96"/>
                  </a:cubicBezTo>
                  <a:close/>
                  <a:moveTo>
                    <a:pt x="48" y="8"/>
                  </a:moveTo>
                  <a:cubicBezTo>
                    <a:pt x="26" y="8"/>
                    <a:pt x="8" y="26"/>
                    <a:pt x="8" y="48"/>
                  </a:cubicBezTo>
                  <a:cubicBezTo>
                    <a:pt x="8" y="70"/>
                    <a:pt x="26" y="88"/>
                    <a:pt x="48" y="88"/>
                  </a:cubicBezTo>
                  <a:cubicBezTo>
                    <a:pt x="70" y="88"/>
                    <a:pt x="88" y="70"/>
                    <a:pt x="88" y="48"/>
                  </a:cubicBezTo>
                  <a:cubicBezTo>
                    <a:pt x="88" y="26"/>
                    <a:pt x="70" y="8"/>
                    <a:pt x="4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55" name="Gruppieren 158">
            <a:extLst>
              <a:ext uri="{FF2B5EF4-FFF2-40B4-BE49-F238E27FC236}">
                <a16:creationId xmlns:a16="http://schemas.microsoft.com/office/drawing/2014/main" id="{41C78072-0C32-44A7-8F89-BB743B3C6354}"/>
              </a:ext>
            </a:extLst>
          </p:cNvPr>
          <p:cNvGrpSpPr>
            <a:grpSpLocks/>
          </p:cNvGrpSpPr>
          <p:nvPr/>
        </p:nvGrpSpPr>
        <p:grpSpPr bwMode="gray">
          <a:xfrm>
            <a:off x="3678011" y="4643330"/>
            <a:ext cx="174960" cy="174960"/>
            <a:chOff x="1862139" y="6499225"/>
            <a:chExt cx="360363" cy="360363"/>
          </a:xfrm>
          <a:solidFill>
            <a:schemeClr val="accent6"/>
          </a:solidFill>
        </p:grpSpPr>
        <p:sp>
          <p:nvSpPr>
            <p:cNvPr id="156" name="Freeform 582">
              <a:extLst>
                <a:ext uri="{FF2B5EF4-FFF2-40B4-BE49-F238E27FC236}">
                  <a16:creationId xmlns:a16="http://schemas.microsoft.com/office/drawing/2014/main" id="{9103343B-E98E-2140-18D4-E3AA5CB3B67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62139" y="6499225"/>
              <a:ext cx="360363" cy="360363"/>
            </a:xfrm>
            <a:custGeom>
              <a:avLst/>
              <a:gdLst>
                <a:gd name="T0" fmla="*/ 100 w 240"/>
                <a:gd name="T1" fmla="*/ 240 h 240"/>
                <a:gd name="T2" fmla="*/ 96 w 240"/>
                <a:gd name="T3" fmla="*/ 206 h 240"/>
                <a:gd name="T4" fmla="*/ 76 w 240"/>
                <a:gd name="T5" fmla="*/ 198 h 240"/>
                <a:gd name="T6" fmla="*/ 49 w 240"/>
                <a:gd name="T7" fmla="*/ 219 h 240"/>
                <a:gd name="T8" fmla="*/ 20 w 240"/>
                <a:gd name="T9" fmla="*/ 188 h 240"/>
                <a:gd name="T10" fmla="*/ 42 w 240"/>
                <a:gd name="T11" fmla="*/ 164 h 240"/>
                <a:gd name="T12" fmla="*/ 4 w 240"/>
                <a:gd name="T13" fmla="*/ 136 h 240"/>
                <a:gd name="T14" fmla="*/ 0 w 240"/>
                <a:gd name="T15" fmla="*/ 100 h 240"/>
                <a:gd name="T16" fmla="*/ 34 w 240"/>
                <a:gd name="T17" fmla="*/ 96 h 240"/>
                <a:gd name="T18" fmla="*/ 21 w 240"/>
                <a:gd name="T19" fmla="*/ 55 h 240"/>
                <a:gd name="T20" fmla="*/ 49 w 240"/>
                <a:gd name="T21" fmla="*/ 21 h 240"/>
                <a:gd name="T22" fmla="*/ 76 w 240"/>
                <a:gd name="T23" fmla="*/ 42 h 240"/>
                <a:gd name="T24" fmla="*/ 96 w 240"/>
                <a:gd name="T25" fmla="*/ 4 h 240"/>
                <a:gd name="T26" fmla="*/ 140 w 240"/>
                <a:gd name="T27" fmla="*/ 0 h 240"/>
                <a:gd name="T28" fmla="*/ 144 w 240"/>
                <a:gd name="T29" fmla="*/ 34 h 240"/>
                <a:gd name="T30" fmla="*/ 185 w 240"/>
                <a:gd name="T31" fmla="*/ 21 h 240"/>
                <a:gd name="T32" fmla="*/ 219 w 240"/>
                <a:gd name="T33" fmla="*/ 49 h 240"/>
                <a:gd name="T34" fmla="*/ 219 w 240"/>
                <a:gd name="T35" fmla="*/ 55 h 240"/>
                <a:gd name="T36" fmla="*/ 206 w 240"/>
                <a:gd name="T37" fmla="*/ 96 h 240"/>
                <a:gd name="T38" fmla="*/ 240 w 240"/>
                <a:gd name="T39" fmla="*/ 100 h 240"/>
                <a:gd name="T40" fmla="*/ 236 w 240"/>
                <a:gd name="T41" fmla="*/ 136 h 240"/>
                <a:gd name="T42" fmla="*/ 198 w 240"/>
                <a:gd name="T43" fmla="*/ 164 h 240"/>
                <a:gd name="T44" fmla="*/ 219 w 240"/>
                <a:gd name="T45" fmla="*/ 191 h 240"/>
                <a:gd name="T46" fmla="*/ 185 w 240"/>
                <a:gd name="T47" fmla="*/ 219 h 240"/>
                <a:gd name="T48" fmla="*/ 149 w 240"/>
                <a:gd name="T49" fmla="*/ 204 h 240"/>
                <a:gd name="T50" fmla="*/ 144 w 240"/>
                <a:gd name="T51" fmla="*/ 236 h 240"/>
                <a:gd name="T52" fmla="*/ 104 w 240"/>
                <a:gd name="T53" fmla="*/ 232 h 240"/>
                <a:gd name="T54" fmla="*/ 136 w 240"/>
                <a:gd name="T55" fmla="*/ 203 h 240"/>
                <a:gd name="T56" fmla="*/ 146 w 240"/>
                <a:gd name="T57" fmla="*/ 196 h 240"/>
                <a:gd name="T58" fmla="*/ 167 w 240"/>
                <a:gd name="T59" fmla="*/ 190 h 240"/>
                <a:gd name="T60" fmla="*/ 211 w 240"/>
                <a:gd name="T61" fmla="*/ 188 h 240"/>
                <a:gd name="T62" fmla="*/ 190 w 240"/>
                <a:gd name="T63" fmla="*/ 163 h 240"/>
                <a:gd name="T64" fmla="*/ 199 w 240"/>
                <a:gd name="T65" fmla="*/ 132 h 240"/>
                <a:gd name="T66" fmla="*/ 232 w 240"/>
                <a:gd name="T67" fmla="*/ 128 h 240"/>
                <a:gd name="T68" fmla="*/ 203 w 240"/>
                <a:gd name="T69" fmla="*/ 104 h 240"/>
                <a:gd name="T70" fmla="*/ 190 w 240"/>
                <a:gd name="T71" fmla="*/ 77 h 240"/>
                <a:gd name="T72" fmla="*/ 211 w 240"/>
                <a:gd name="T73" fmla="*/ 52 h 240"/>
                <a:gd name="T74" fmla="*/ 167 w 240"/>
                <a:gd name="T75" fmla="*/ 50 h 240"/>
                <a:gd name="T76" fmla="*/ 139 w 240"/>
                <a:gd name="T77" fmla="*/ 41 h 240"/>
                <a:gd name="T78" fmla="*/ 136 w 240"/>
                <a:gd name="T79" fmla="*/ 8 h 240"/>
                <a:gd name="T80" fmla="*/ 104 w 240"/>
                <a:gd name="T81" fmla="*/ 37 h 240"/>
                <a:gd name="T82" fmla="*/ 77 w 240"/>
                <a:gd name="T83" fmla="*/ 50 h 240"/>
                <a:gd name="T84" fmla="*/ 52 w 240"/>
                <a:gd name="T85" fmla="*/ 29 h 240"/>
                <a:gd name="T86" fmla="*/ 50 w 240"/>
                <a:gd name="T87" fmla="*/ 73 h 240"/>
                <a:gd name="T88" fmla="*/ 41 w 240"/>
                <a:gd name="T89" fmla="*/ 101 h 240"/>
                <a:gd name="T90" fmla="*/ 8 w 240"/>
                <a:gd name="T91" fmla="*/ 104 h 240"/>
                <a:gd name="T92" fmla="*/ 37 w 240"/>
                <a:gd name="T93" fmla="*/ 128 h 240"/>
                <a:gd name="T94" fmla="*/ 50 w 240"/>
                <a:gd name="T95" fmla="*/ 163 h 240"/>
                <a:gd name="T96" fmla="*/ 29 w 240"/>
                <a:gd name="T97" fmla="*/ 188 h 240"/>
                <a:gd name="T98" fmla="*/ 73 w 240"/>
                <a:gd name="T99" fmla="*/ 190 h 240"/>
                <a:gd name="T100" fmla="*/ 94 w 240"/>
                <a:gd name="T101" fmla="*/ 196 h 240"/>
                <a:gd name="T102" fmla="*/ 104 w 240"/>
                <a:gd name="T103" fmla="*/ 203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40" h="240">
                  <a:moveTo>
                    <a:pt x="140" y="240"/>
                  </a:moveTo>
                  <a:cubicBezTo>
                    <a:pt x="100" y="240"/>
                    <a:pt x="100" y="240"/>
                    <a:pt x="100" y="240"/>
                  </a:cubicBezTo>
                  <a:cubicBezTo>
                    <a:pt x="98" y="240"/>
                    <a:pt x="96" y="238"/>
                    <a:pt x="96" y="236"/>
                  </a:cubicBezTo>
                  <a:cubicBezTo>
                    <a:pt x="96" y="206"/>
                    <a:pt x="96" y="206"/>
                    <a:pt x="96" y="206"/>
                  </a:cubicBezTo>
                  <a:cubicBezTo>
                    <a:pt x="95" y="205"/>
                    <a:pt x="93" y="205"/>
                    <a:pt x="91" y="204"/>
                  </a:cubicBezTo>
                  <a:cubicBezTo>
                    <a:pt x="86" y="202"/>
                    <a:pt x="81" y="200"/>
                    <a:pt x="76" y="198"/>
                  </a:cubicBezTo>
                  <a:cubicBezTo>
                    <a:pt x="55" y="219"/>
                    <a:pt x="55" y="219"/>
                    <a:pt x="55" y="219"/>
                  </a:cubicBezTo>
                  <a:cubicBezTo>
                    <a:pt x="54" y="221"/>
                    <a:pt x="51" y="221"/>
                    <a:pt x="49" y="219"/>
                  </a:cubicBezTo>
                  <a:cubicBezTo>
                    <a:pt x="21" y="191"/>
                    <a:pt x="21" y="191"/>
                    <a:pt x="21" y="191"/>
                  </a:cubicBezTo>
                  <a:cubicBezTo>
                    <a:pt x="20" y="190"/>
                    <a:pt x="20" y="189"/>
                    <a:pt x="20" y="188"/>
                  </a:cubicBezTo>
                  <a:cubicBezTo>
                    <a:pt x="20" y="187"/>
                    <a:pt x="20" y="186"/>
                    <a:pt x="21" y="185"/>
                  </a:cubicBezTo>
                  <a:cubicBezTo>
                    <a:pt x="42" y="164"/>
                    <a:pt x="42" y="164"/>
                    <a:pt x="42" y="164"/>
                  </a:cubicBezTo>
                  <a:cubicBezTo>
                    <a:pt x="38" y="157"/>
                    <a:pt x="35" y="146"/>
                    <a:pt x="33" y="136"/>
                  </a:cubicBezTo>
                  <a:cubicBezTo>
                    <a:pt x="4" y="136"/>
                    <a:pt x="4" y="136"/>
                    <a:pt x="4" y="136"/>
                  </a:cubicBezTo>
                  <a:cubicBezTo>
                    <a:pt x="2" y="136"/>
                    <a:pt x="0" y="134"/>
                    <a:pt x="0" y="132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98"/>
                    <a:pt x="2" y="96"/>
                    <a:pt x="4" y="96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5" y="91"/>
                    <a:pt x="39" y="82"/>
                    <a:pt x="42" y="76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19" y="54"/>
                    <a:pt x="19" y="51"/>
                    <a:pt x="21" y="49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51" y="19"/>
                    <a:pt x="54" y="19"/>
                    <a:pt x="55" y="21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82" y="38"/>
                    <a:pt x="91" y="35"/>
                    <a:pt x="96" y="34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6" y="2"/>
                    <a:pt x="98" y="0"/>
                    <a:pt x="100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2" y="0"/>
                    <a:pt x="144" y="2"/>
                    <a:pt x="144" y="4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9" y="35"/>
                    <a:pt x="158" y="38"/>
                    <a:pt x="164" y="42"/>
                  </a:cubicBezTo>
                  <a:cubicBezTo>
                    <a:pt x="185" y="21"/>
                    <a:pt x="185" y="21"/>
                    <a:pt x="185" y="21"/>
                  </a:cubicBezTo>
                  <a:cubicBezTo>
                    <a:pt x="186" y="19"/>
                    <a:pt x="189" y="19"/>
                    <a:pt x="191" y="21"/>
                  </a:cubicBezTo>
                  <a:cubicBezTo>
                    <a:pt x="219" y="49"/>
                    <a:pt x="219" y="49"/>
                    <a:pt x="219" y="49"/>
                  </a:cubicBezTo>
                  <a:cubicBezTo>
                    <a:pt x="220" y="50"/>
                    <a:pt x="220" y="51"/>
                    <a:pt x="220" y="52"/>
                  </a:cubicBezTo>
                  <a:cubicBezTo>
                    <a:pt x="220" y="53"/>
                    <a:pt x="220" y="54"/>
                    <a:pt x="219" y="55"/>
                  </a:cubicBezTo>
                  <a:cubicBezTo>
                    <a:pt x="198" y="76"/>
                    <a:pt x="198" y="76"/>
                    <a:pt x="198" y="76"/>
                  </a:cubicBezTo>
                  <a:cubicBezTo>
                    <a:pt x="202" y="82"/>
                    <a:pt x="204" y="89"/>
                    <a:pt x="206" y="96"/>
                  </a:cubicBezTo>
                  <a:cubicBezTo>
                    <a:pt x="236" y="96"/>
                    <a:pt x="236" y="96"/>
                    <a:pt x="236" y="96"/>
                  </a:cubicBezTo>
                  <a:cubicBezTo>
                    <a:pt x="238" y="96"/>
                    <a:pt x="240" y="98"/>
                    <a:pt x="240" y="100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40" y="134"/>
                    <a:pt x="238" y="136"/>
                    <a:pt x="236" y="136"/>
                  </a:cubicBezTo>
                  <a:cubicBezTo>
                    <a:pt x="207" y="136"/>
                    <a:pt x="207" y="136"/>
                    <a:pt x="207" y="136"/>
                  </a:cubicBezTo>
                  <a:cubicBezTo>
                    <a:pt x="205" y="152"/>
                    <a:pt x="202" y="158"/>
                    <a:pt x="198" y="164"/>
                  </a:cubicBezTo>
                  <a:cubicBezTo>
                    <a:pt x="219" y="185"/>
                    <a:pt x="219" y="185"/>
                    <a:pt x="219" y="185"/>
                  </a:cubicBezTo>
                  <a:cubicBezTo>
                    <a:pt x="221" y="186"/>
                    <a:pt x="221" y="189"/>
                    <a:pt x="219" y="191"/>
                  </a:cubicBezTo>
                  <a:cubicBezTo>
                    <a:pt x="191" y="219"/>
                    <a:pt x="191" y="219"/>
                    <a:pt x="191" y="219"/>
                  </a:cubicBezTo>
                  <a:cubicBezTo>
                    <a:pt x="189" y="221"/>
                    <a:pt x="186" y="221"/>
                    <a:pt x="185" y="219"/>
                  </a:cubicBezTo>
                  <a:cubicBezTo>
                    <a:pt x="164" y="198"/>
                    <a:pt x="164" y="198"/>
                    <a:pt x="164" y="198"/>
                  </a:cubicBezTo>
                  <a:cubicBezTo>
                    <a:pt x="159" y="200"/>
                    <a:pt x="154" y="202"/>
                    <a:pt x="149" y="204"/>
                  </a:cubicBezTo>
                  <a:cubicBezTo>
                    <a:pt x="147" y="205"/>
                    <a:pt x="145" y="205"/>
                    <a:pt x="144" y="206"/>
                  </a:cubicBezTo>
                  <a:cubicBezTo>
                    <a:pt x="144" y="236"/>
                    <a:pt x="144" y="236"/>
                    <a:pt x="144" y="236"/>
                  </a:cubicBezTo>
                  <a:cubicBezTo>
                    <a:pt x="144" y="238"/>
                    <a:pt x="142" y="240"/>
                    <a:pt x="140" y="240"/>
                  </a:cubicBezTo>
                  <a:close/>
                  <a:moveTo>
                    <a:pt x="104" y="232"/>
                  </a:moveTo>
                  <a:cubicBezTo>
                    <a:pt x="136" y="232"/>
                    <a:pt x="136" y="232"/>
                    <a:pt x="136" y="232"/>
                  </a:cubicBezTo>
                  <a:cubicBezTo>
                    <a:pt x="136" y="203"/>
                    <a:pt x="136" y="203"/>
                    <a:pt x="136" y="203"/>
                  </a:cubicBezTo>
                  <a:cubicBezTo>
                    <a:pt x="136" y="202"/>
                    <a:pt x="137" y="200"/>
                    <a:pt x="138" y="200"/>
                  </a:cubicBezTo>
                  <a:cubicBezTo>
                    <a:pt x="140" y="199"/>
                    <a:pt x="143" y="198"/>
                    <a:pt x="146" y="196"/>
                  </a:cubicBezTo>
                  <a:cubicBezTo>
                    <a:pt x="152" y="195"/>
                    <a:pt x="158" y="192"/>
                    <a:pt x="163" y="190"/>
                  </a:cubicBezTo>
                  <a:cubicBezTo>
                    <a:pt x="164" y="189"/>
                    <a:pt x="166" y="189"/>
                    <a:pt x="167" y="190"/>
                  </a:cubicBezTo>
                  <a:cubicBezTo>
                    <a:pt x="188" y="211"/>
                    <a:pt x="188" y="211"/>
                    <a:pt x="188" y="211"/>
                  </a:cubicBezTo>
                  <a:cubicBezTo>
                    <a:pt x="211" y="188"/>
                    <a:pt x="211" y="188"/>
                    <a:pt x="211" y="188"/>
                  </a:cubicBezTo>
                  <a:cubicBezTo>
                    <a:pt x="190" y="167"/>
                    <a:pt x="190" y="167"/>
                    <a:pt x="190" y="167"/>
                  </a:cubicBezTo>
                  <a:cubicBezTo>
                    <a:pt x="189" y="166"/>
                    <a:pt x="189" y="164"/>
                    <a:pt x="190" y="163"/>
                  </a:cubicBezTo>
                  <a:cubicBezTo>
                    <a:pt x="190" y="162"/>
                    <a:pt x="190" y="162"/>
                    <a:pt x="190" y="162"/>
                  </a:cubicBezTo>
                  <a:cubicBezTo>
                    <a:pt x="194" y="155"/>
                    <a:pt x="197" y="150"/>
                    <a:pt x="199" y="132"/>
                  </a:cubicBezTo>
                  <a:cubicBezTo>
                    <a:pt x="199" y="130"/>
                    <a:pt x="201" y="128"/>
                    <a:pt x="203" y="128"/>
                  </a:cubicBezTo>
                  <a:cubicBezTo>
                    <a:pt x="232" y="128"/>
                    <a:pt x="232" y="128"/>
                    <a:pt x="232" y="128"/>
                  </a:cubicBezTo>
                  <a:cubicBezTo>
                    <a:pt x="232" y="104"/>
                    <a:pt x="232" y="104"/>
                    <a:pt x="232" y="104"/>
                  </a:cubicBezTo>
                  <a:cubicBezTo>
                    <a:pt x="203" y="104"/>
                    <a:pt x="203" y="104"/>
                    <a:pt x="203" y="104"/>
                  </a:cubicBezTo>
                  <a:cubicBezTo>
                    <a:pt x="201" y="104"/>
                    <a:pt x="200" y="103"/>
                    <a:pt x="199" y="101"/>
                  </a:cubicBezTo>
                  <a:cubicBezTo>
                    <a:pt x="197" y="93"/>
                    <a:pt x="194" y="84"/>
                    <a:pt x="190" y="77"/>
                  </a:cubicBezTo>
                  <a:cubicBezTo>
                    <a:pt x="189" y="76"/>
                    <a:pt x="189" y="74"/>
                    <a:pt x="190" y="73"/>
                  </a:cubicBezTo>
                  <a:cubicBezTo>
                    <a:pt x="211" y="52"/>
                    <a:pt x="211" y="52"/>
                    <a:pt x="211" y="52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67" y="50"/>
                    <a:pt x="167" y="50"/>
                    <a:pt x="167" y="50"/>
                  </a:cubicBezTo>
                  <a:cubicBezTo>
                    <a:pt x="166" y="51"/>
                    <a:pt x="164" y="51"/>
                    <a:pt x="163" y="50"/>
                  </a:cubicBezTo>
                  <a:cubicBezTo>
                    <a:pt x="155" y="46"/>
                    <a:pt x="143" y="41"/>
                    <a:pt x="139" y="41"/>
                  </a:cubicBezTo>
                  <a:cubicBezTo>
                    <a:pt x="137" y="40"/>
                    <a:pt x="136" y="39"/>
                    <a:pt x="136" y="37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9"/>
                    <a:pt x="103" y="40"/>
                    <a:pt x="101" y="41"/>
                  </a:cubicBezTo>
                  <a:cubicBezTo>
                    <a:pt x="96" y="42"/>
                    <a:pt x="85" y="46"/>
                    <a:pt x="77" y="50"/>
                  </a:cubicBezTo>
                  <a:cubicBezTo>
                    <a:pt x="76" y="51"/>
                    <a:pt x="74" y="51"/>
                    <a:pt x="73" y="50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1" y="74"/>
                    <a:pt x="51" y="76"/>
                    <a:pt x="50" y="77"/>
                  </a:cubicBezTo>
                  <a:cubicBezTo>
                    <a:pt x="46" y="85"/>
                    <a:pt x="42" y="96"/>
                    <a:pt x="41" y="101"/>
                  </a:cubicBezTo>
                  <a:cubicBezTo>
                    <a:pt x="40" y="103"/>
                    <a:pt x="39" y="104"/>
                    <a:pt x="37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28"/>
                    <a:pt x="8" y="128"/>
                    <a:pt x="8" y="128"/>
                  </a:cubicBezTo>
                  <a:cubicBezTo>
                    <a:pt x="37" y="128"/>
                    <a:pt x="37" y="128"/>
                    <a:pt x="37" y="128"/>
                  </a:cubicBezTo>
                  <a:cubicBezTo>
                    <a:pt x="39" y="128"/>
                    <a:pt x="40" y="129"/>
                    <a:pt x="41" y="131"/>
                  </a:cubicBezTo>
                  <a:cubicBezTo>
                    <a:pt x="42" y="143"/>
                    <a:pt x="46" y="156"/>
                    <a:pt x="50" y="163"/>
                  </a:cubicBezTo>
                  <a:cubicBezTo>
                    <a:pt x="51" y="164"/>
                    <a:pt x="51" y="166"/>
                    <a:pt x="50" y="167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52" y="211"/>
                    <a:pt x="52" y="211"/>
                    <a:pt x="52" y="211"/>
                  </a:cubicBezTo>
                  <a:cubicBezTo>
                    <a:pt x="73" y="190"/>
                    <a:pt x="73" y="190"/>
                    <a:pt x="73" y="190"/>
                  </a:cubicBezTo>
                  <a:cubicBezTo>
                    <a:pt x="74" y="189"/>
                    <a:pt x="76" y="189"/>
                    <a:pt x="77" y="190"/>
                  </a:cubicBezTo>
                  <a:cubicBezTo>
                    <a:pt x="82" y="192"/>
                    <a:pt x="88" y="195"/>
                    <a:pt x="94" y="196"/>
                  </a:cubicBezTo>
                  <a:cubicBezTo>
                    <a:pt x="97" y="198"/>
                    <a:pt x="100" y="199"/>
                    <a:pt x="102" y="200"/>
                  </a:cubicBezTo>
                  <a:cubicBezTo>
                    <a:pt x="103" y="200"/>
                    <a:pt x="104" y="202"/>
                    <a:pt x="104" y="203"/>
                  </a:cubicBezTo>
                  <a:lnTo>
                    <a:pt x="104" y="2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7" name="Freeform 583">
              <a:extLst>
                <a:ext uri="{FF2B5EF4-FFF2-40B4-BE49-F238E27FC236}">
                  <a16:creationId xmlns:a16="http://schemas.microsoft.com/office/drawing/2014/main" id="{28E8BCC3-4269-496B-6854-C44D913AEFE1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0089" y="6607175"/>
              <a:ext cx="144463" cy="144463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8 h 96"/>
                <a:gd name="T12" fmla="*/ 8 w 96"/>
                <a:gd name="T13" fmla="*/ 48 h 96"/>
                <a:gd name="T14" fmla="*/ 48 w 96"/>
                <a:gd name="T15" fmla="*/ 88 h 96"/>
                <a:gd name="T16" fmla="*/ 88 w 96"/>
                <a:gd name="T17" fmla="*/ 48 h 96"/>
                <a:gd name="T18" fmla="*/ 48 w 96"/>
                <a:gd name="T19" fmla="*/ 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4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4" y="0"/>
                    <a:pt x="96" y="22"/>
                    <a:pt x="96" y="48"/>
                  </a:cubicBezTo>
                  <a:cubicBezTo>
                    <a:pt x="96" y="74"/>
                    <a:pt x="74" y="96"/>
                    <a:pt x="48" y="96"/>
                  </a:cubicBezTo>
                  <a:close/>
                  <a:moveTo>
                    <a:pt x="48" y="8"/>
                  </a:moveTo>
                  <a:cubicBezTo>
                    <a:pt x="26" y="8"/>
                    <a:pt x="8" y="26"/>
                    <a:pt x="8" y="48"/>
                  </a:cubicBezTo>
                  <a:cubicBezTo>
                    <a:pt x="8" y="70"/>
                    <a:pt x="26" y="88"/>
                    <a:pt x="48" y="88"/>
                  </a:cubicBezTo>
                  <a:cubicBezTo>
                    <a:pt x="70" y="88"/>
                    <a:pt x="88" y="70"/>
                    <a:pt x="88" y="48"/>
                  </a:cubicBezTo>
                  <a:cubicBezTo>
                    <a:pt x="88" y="26"/>
                    <a:pt x="70" y="8"/>
                    <a:pt x="4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58" name="Grafik 166">
            <a:extLst>
              <a:ext uri="{FF2B5EF4-FFF2-40B4-BE49-F238E27FC236}">
                <a16:creationId xmlns:a16="http://schemas.microsoft.com/office/drawing/2014/main" id="{368924E8-7D82-E0F1-9813-97BF6C6A5C5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0800000">
            <a:off x="3246873" y="2915206"/>
            <a:ext cx="643357" cy="643357"/>
          </a:xfrm>
          <a:prstGeom prst="rect">
            <a:avLst/>
          </a:prstGeom>
        </p:spPr>
      </p:pic>
      <p:pic>
        <p:nvPicPr>
          <p:cNvPr id="159" name="Grafik 168">
            <a:extLst>
              <a:ext uri="{FF2B5EF4-FFF2-40B4-BE49-F238E27FC236}">
                <a16:creationId xmlns:a16="http://schemas.microsoft.com/office/drawing/2014/main" id="{816F8F96-3AB8-D153-E14B-A8E346398EE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0800000">
            <a:off x="2862563" y="3437439"/>
            <a:ext cx="643357" cy="643357"/>
          </a:xfrm>
          <a:prstGeom prst="rect">
            <a:avLst/>
          </a:prstGeom>
        </p:spPr>
      </p:pic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5538BBCE-4642-0B4B-A75A-735BE125EF08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47879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dashboard, dashboards, overview, overviews, summary, summaries</a:t>
            </a:r>
          </a:p>
        </p:txBody>
      </p:sp>
    </p:spTree>
    <p:extLst>
      <p:ext uri="{BB962C8B-B14F-4D97-AF65-F5344CB8AC3E}">
        <p14:creationId xmlns:p14="http://schemas.microsoft.com/office/powerpoint/2010/main" val="37609915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